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4a" ContentType="audio/mp4"/>
  <Default Extension="mp3" ContentType="audio/m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notesMasterIdLst>
    <p:notesMasterId r:id="rId6"/>
  </p:notesMasterIdLst>
  <p:handoutMasterIdLst>
    <p:handoutMasterId r:id="rId7"/>
  </p:handoutMasterIdLst>
  <p:sldIdLst>
    <p:sldId id="256" r:id="rId4"/>
    <p:sldId id="346" r:id="rId5"/>
  </p:sldIdLst>
  <p:sldSz cx="9144000" cy="5143500" type="screen16x9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8978BD-262A-43DC-9085-2B255730E9FE}" v="3" dt="2022-06-17T13:51:24.807"/>
    <p1510:client id="{FD18C76D-F4C9-4300-8F40-8457B5A63576}" v="136" dt="2022-06-22T06:27:17.7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946" y="7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D5EE924-7C7A-4DF4-8160-1F8C80331E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95974B7-4A7C-489A-BBD7-F801394F3F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CFF72-F475-4042-99CF-93073580059F}" type="datetimeFigureOut">
              <a:rPr lang="nl-NL" smtClean="0"/>
              <a:t>5-3-2024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63C70C-2828-4B0F-96A7-C6BCB63E79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BCE4F6-ADAA-471B-9818-4E936AF306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6576AF-A7B7-4ADB-AB49-01212135A7A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827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C29034-7B02-44B1-A2AD-5C94FC3C3932}" type="datetimeFigureOut">
              <a:rPr lang="nl-NL" smtClean="0"/>
              <a:t>5-3-2024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29F4C-0819-44EE-9EF8-74EED277180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36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E43776B-CC04-42BA-9B95-EB50BBE8D9A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19A64D79-306C-4F7C-A10C-E6DD6F9B597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8" name="Line 147">
                <a:extLst>
                  <a:ext uri="{FF2B5EF4-FFF2-40B4-BE49-F238E27FC236}">
                    <a16:creationId xmlns:a16="http://schemas.microsoft.com/office/drawing/2014/main" id="{0B5927D3-2821-44B3-A0D5-5A759982F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49">
                <a:extLst>
                  <a:ext uri="{FF2B5EF4-FFF2-40B4-BE49-F238E27FC236}">
                    <a16:creationId xmlns:a16="http://schemas.microsoft.com/office/drawing/2014/main" id="{70F029C7-6EBB-4DF5-9E58-7654FA2577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1">
                <a:extLst>
                  <a:ext uri="{FF2B5EF4-FFF2-40B4-BE49-F238E27FC236}">
                    <a16:creationId xmlns:a16="http://schemas.microsoft.com/office/drawing/2014/main" id="{2C776D2D-A61E-46D5-8BF8-6CF729E29D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3">
                <a:extLst>
                  <a:ext uri="{FF2B5EF4-FFF2-40B4-BE49-F238E27FC236}">
                    <a16:creationId xmlns:a16="http://schemas.microsoft.com/office/drawing/2014/main" id="{6C391ADE-FA4C-4815-B727-9CCE96FFB6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5">
                <a:extLst>
                  <a:ext uri="{FF2B5EF4-FFF2-40B4-BE49-F238E27FC236}">
                    <a16:creationId xmlns:a16="http://schemas.microsoft.com/office/drawing/2014/main" id="{D37A7E4D-A0BE-4B30-96DA-4C250160DA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7">
                <a:extLst>
                  <a:ext uri="{FF2B5EF4-FFF2-40B4-BE49-F238E27FC236}">
                    <a16:creationId xmlns:a16="http://schemas.microsoft.com/office/drawing/2014/main" id="{28319121-D89B-4E64-A60D-5DB6FC83B1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9">
                <a:extLst>
                  <a:ext uri="{FF2B5EF4-FFF2-40B4-BE49-F238E27FC236}">
                    <a16:creationId xmlns:a16="http://schemas.microsoft.com/office/drawing/2014/main" id="{A27DDC8F-77FB-4B28-A08A-5D12E5D7D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1">
                <a:extLst>
                  <a:ext uri="{FF2B5EF4-FFF2-40B4-BE49-F238E27FC236}">
                    <a16:creationId xmlns:a16="http://schemas.microsoft.com/office/drawing/2014/main" id="{A374693F-BFA0-46ED-91D4-F8C893105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3">
                <a:extLst>
                  <a:ext uri="{FF2B5EF4-FFF2-40B4-BE49-F238E27FC236}">
                    <a16:creationId xmlns:a16="http://schemas.microsoft.com/office/drawing/2014/main" id="{1D5FB317-4905-4BB4-9A1B-334567A09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5">
                <a:extLst>
                  <a:ext uri="{FF2B5EF4-FFF2-40B4-BE49-F238E27FC236}">
                    <a16:creationId xmlns:a16="http://schemas.microsoft.com/office/drawing/2014/main" id="{BA8B3580-F8A6-4552-9558-2429569861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7">
                <a:extLst>
                  <a:ext uri="{FF2B5EF4-FFF2-40B4-BE49-F238E27FC236}">
                    <a16:creationId xmlns:a16="http://schemas.microsoft.com/office/drawing/2014/main" id="{9C31ADCD-467F-4C4D-9B6C-C96383465A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9">
                <a:extLst>
                  <a:ext uri="{FF2B5EF4-FFF2-40B4-BE49-F238E27FC236}">
                    <a16:creationId xmlns:a16="http://schemas.microsoft.com/office/drawing/2014/main" id="{45882DAB-90A8-4E3A-8A4D-A5D6AB7CF4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1">
                <a:extLst>
                  <a:ext uri="{FF2B5EF4-FFF2-40B4-BE49-F238E27FC236}">
                    <a16:creationId xmlns:a16="http://schemas.microsoft.com/office/drawing/2014/main" id="{8CA5EA2B-9274-482C-82D2-70CDD5757E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3">
                <a:extLst>
                  <a:ext uri="{FF2B5EF4-FFF2-40B4-BE49-F238E27FC236}">
                    <a16:creationId xmlns:a16="http://schemas.microsoft.com/office/drawing/2014/main" id="{6C9C2748-C883-4FE3-A06A-226C8B9022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5">
                <a:extLst>
                  <a:ext uri="{FF2B5EF4-FFF2-40B4-BE49-F238E27FC236}">
                    <a16:creationId xmlns:a16="http://schemas.microsoft.com/office/drawing/2014/main" id="{38B0D0FF-1240-42A7-8EBB-11CCBA308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7">
                <a:extLst>
                  <a:ext uri="{FF2B5EF4-FFF2-40B4-BE49-F238E27FC236}">
                    <a16:creationId xmlns:a16="http://schemas.microsoft.com/office/drawing/2014/main" id="{559A623D-6F9C-42D5-9A88-46A5A4174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9">
                <a:extLst>
                  <a:ext uri="{FF2B5EF4-FFF2-40B4-BE49-F238E27FC236}">
                    <a16:creationId xmlns:a16="http://schemas.microsoft.com/office/drawing/2014/main" id="{8EE43601-CA07-4427-A2B6-8DDE6DBA6E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1">
                <a:extLst>
                  <a:ext uri="{FF2B5EF4-FFF2-40B4-BE49-F238E27FC236}">
                    <a16:creationId xmlns:a16="http://schemas.microsoft.com/office/drawing/2014/main" id="{D206178F-1643-41C9-A324-CD99271D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3">
                <a:extLst>
                  <a:ext uri="{FF2B5EF4-FFF2-40B4-BE49-F238E27FC236}">
                    <a16:creationId xmlns:a16="http://schemas.microsoft.com/office/drawing/2014/main" id="{87910D42-E4DC-4B9A-BC6C-0C25B7F087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5">
                <a:extLst>
                  <a:ext uri="{FF2B5EF4-FFF2-40B4-BE49-F238E27FC236}">
                    <a16:creationId xmlns:a16="http://schemas.microsoft.com/office/drawing/2014/main" id="{86E6BBAE-3A55-4B72-B240-BB134EC1C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7">
                <a:extLst>
                  <a:ext uri="{FF2B5EF4-FFF2-40B4-BE49-F238E27FC236}">
                    <a16:creationId xmlns:a16="http://schemas.microsoft.com/office/drawing/2014/main" id="{B75D7D2E-A8AE-44D0-8048-DE5E4F6880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9">
                <a:extLst>
                  <a:ext uri="{FF2B5EF4-FFF2-40B4-BE49-F238E27FC236}">
                    <a16:creationId xmlns:a16="http://schemas.microsoft.com/office/drawing/2014/main" id="{84812203-A445-4ACF-93BF-F938648133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1">
                <a:extLst>
                  <a:ext uri="{FF2B5EF4-FFF2-40B4-BE49-F238E27FC236}">
                    <a16:creationId xmlns:a16="http://schemas.microsoft.com/office/drawing/2014/main" id="{88736EB2-6B10-44EC-8765-4537551E9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3">
                <a:extLst>
                  <a:ext uri="{FF2B5EF4-FFF2-40B4-BE49-F238E27FC236}">
                    <a16:creationId xmlns:a16="http://schemas.microsoft.com/office/drawing/2014/main" id="{B3A6A596-EB19-4D5D-97DB-C044BB529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5">
                <a:extLst>
                  <a:ext uri="{FF2B5EF4-FFF2-40B4-BE49-F238E27FC236}">
                    <a16:creationId xmlns:a16="http://schemas.microsoft.com/office/drawing/2014/main" id="{089AE4B1-CD59-4663-811F-2F8C2F3E9A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7">
                <a:extLst>
                  <a:ext uri="{FF2B5EF4-FFF2-40B4-BE49-F238E27FC236}">
                    <a16:creationId xmlns:a16="http://schemas.microsoft.com/office/drawing/2014/main" id="{03682CDB-2B17-4B5C-917B-77A78148E9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9">
                <a:extLst>
                  <a:ext uri="{FF2B5EF4-FFF2-40B4-BE49-F238E27FC236}">
                    <a16:creationId xmlns:a16="http://schemas.microsoft.com/office/drawing/2014/main" id="{A507B184-93E8-4AF7-AED1-2D6C8D2478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1">
                <a:extLst>
                  <a:ext uri="{FF2B5EF4-FFF2-40B4-BE49-F238E27FC236}">
                    <a16:creationId xmlns:a16="http://schemas.microsoft.com/office/drawing/2014/main" id="{A00BAE36-9FCF-4C0A-9FEA-B4A159E4F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3">
                <a:extLst>
                  <a:ext uri="{FF2B5EF4-FFF2-40B4-BE49-F238E27FC236}">
                    <a16:creationId xmlns:a16="http://schemas.microsoft.com/office/drawing/2014/main" id="{29DEA69E-21F5-4A1B-81EC-4325B9829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5">
                <a:extLst>
                  <a:ext uri="{FF2B5EF4-FFF2-40B4-BE49-F238E27FC236}">
                    <a16:creationId xmlns:a16="http://schemas.microsoft.com/office/drawing/2014/main" id="{29E8F94C-544F-463F-AB8A-DD4FBF968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7">
                <a:extLst>
                  <a:ext uri="{FF2B5EF4-FFF2-40B4-BE49-F238E27FC236}">
                    <a16:creationId xmlns:a16="http://schemas.microsoft.com/office/drawing/2014/main" id="{99CCF57C-7682-405D-BD81-ED73E4606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9">
                <a:extLst>
                  <a:ext uri="{FF2B5EF4-FFF2-40B4-BE49-F238E27FC236}">
                    <a16:creationId xmlns:a16="http://schemas.microsoft.com/office/drawing/2014/main" id="{DEF7029E-D4B7-48A0-A43E-01E1D20CB0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1">
                <a:extLst>
                  <a:ext uri="{FF2B5EF4-FFF2-40B4-BE49-F238E27FC236}">
                    <a16:creationId xmlns:a16="http://schemas.microsoft.com/office/drawing/2014/main" id="{640154BC-FC35-4C3B-BDD4-F7D1CEC66B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3">
                <a:extLst>
                  <a:ext uri="{FF2B5EF4-FFF2-40B4-BE49-F238E27FC236}">
                    <a16:creationId xmlns:a16="http://schemas.microsoft.com/office/drawing/2014/main" id="{B4623E06-CC23-424A-928B-CCA78EFB9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5">
                <a:extLst>
                  <a:ext uri="{FF2B5EF4-FFF2-40B4-BE49-F238E27FC236}">
                    <a16:creationId xmlns:a16="http://schemas.microsoft.com/office/drawing/2014/main" id="{D2C9057C-103D-4876-BC49-964ACEE64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7">
                <a:extLst>
                  <a:ext uri="{FF2B5EF4-FFF2-40B4-BE49-F238E27FC236}">
                    <a16:creationId xmlns:a16="http://schemas.microsoft.com/office/drawing/2014/main" id="{E9EEAEEF-048C-4D59-BCF2-F56705B250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9">
                <a:extLst>
                  <a:ext uri="{FF2B5EF4-FFF2-40B4-BE49-F238E27FC236}">
                    <a16:creationId xmlns:a16="http://schemas.microsoft.com/office/drawing/2014/main" id="{FFCC0EEB-D316-465C-8343-D5411EDDB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1">
                <a:extLst>
                  <a:ext uri="{FF2B5EF4-FFF2-40B4-BE49-F238E27FC236}">
                    <a16:creationId xmlns:a16="http://schemas.microsoft.com/office/drawing/2014/main" id="{3646230A-AEDD-491F-9771-74A2A98D88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23">
                <a:extLst>
                  <a:ext uri="{FF2B5EF4-FFF2-40B4-BE49-F238E27FC236}">
                    <a16:creationId xmlns:a16="http://schemas.microsoft.com/office/drawing/2014/main" id="{54256A3E-76D4-4F8E-ACA9-D764146E0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5">
                <a:extLst>
                  <a:ext uri="{FF2B5EF4-FFF2-40B4-BE49-F238E27FC236}">
                    <a16:creationId xmlns:a16="http://schemas.microsoft.com/office/drawing/2014/main" id="{0BED8F46-F919-4EF1-9F23-65351531F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7">
                <a:extLst>
                  <a:ext uri="{FF2B5EF4-FFF2-40B4-BE49-F238E27FC236}">
                    <a16:creationId xmlns:a16="http://schemas.microsoft.com/office/drawing/2014/main" id="{46DC1137-C0AE-45AC-869A-1263D84B66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9">
                <a:extLst>
                  <a:ext uri="{FF2B5EF4-FFF2-40B4-BE49-F238E27FC236}">
                    <a16:creationId xmlns:a16="http://schemas.microsoft.com/office/drawing/2014/main" id="{D4AEB903-2BBD-4E65-98BA-FF9540BF6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200F16C9-C329-417B-9455-0B4DF47EF06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6" name="Line 146">
                <a:extLst>
                  <a:ext uri="{FF2B5EF4-FFF2-40B4-BE49-F238E27FC236}">
                    <a16:creationId xmlns:a16="http://schemas.microsoft.com/office/drawing/2014/main" id="{E7DEF525-0C41-4BCD-B2DB-E69394C72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48">
                <a:extLst>
                  <a:ext uri="{FF2B5EF4-FFF2-40B4-BE49-F238E27FC236}">
                    <a16:creationId xmlns:a16="http://schemas.microsoft.com/office/drawing/2014/main" id="{6B89753B-F044-4CB1-AD8F-87D6A7AE7D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0">
                <a:extLst>
                  <a:ext uri="{FF2B5EF4-FFF2-40B4-BE49-F238E27FC236}">
                    <a16:creationId xmlns:a16="http://schemas.microsoft.com/office/drawing/2014/main" id="{3275BCFD-25DA-45B5-A6AB-0EB653DA6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2">
                <a:extLst>
                  <a:ext uri="{FF2B5EF4-FFF2-40B4-BE49-F238E27FC236}">
                    <a16:creationId xmlns:a16="http://schemas.microsoft.com/office/drawing/2014/main" id="{ABCE50CC-74DF-4FB9-8AEF-BE6C9B6C6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4">
                <a:extLst>
                  <a:ext uri="{FF2B5EF4-FFF2-40B4-BE49-F238E27FC236}">
                    <a16:creationId xmlns:a16="http://schemas.microsoft.com/office/drawing/2014/main" id="{0AACB713-A9DD-4B3E-88A1-9C840DCD60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6">
                <a:extLst>
                  <a:ext uri="{FF2B5EF4-FFF2-40B4-BE49-F238E27FC236}">
                    <a16:creationId xmlns:a16="http://schemas.microsoft.com/office/drawing/2014/main" id="{28971DD0-9940-456C-9A93-444D95259A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8">
                <a:extLst>
                  <a:ext uri="{FF2B5EF4-FFF2-40B4-BE49-F238E27FC236}">
                    <a16:creationId xmlns:a16="http://schemas.microsoft.com/office/drawing/2014/main" id="{37BFEBD1-71FB-4223-BC9A-330F186E1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0">
                <a:extLst>
                  <a:ext uri="{FF2B5EF4-FFF2-40B4-BE49-F238E27FC236}">
                    <a16:creationId xmlns:a16="http://schemas.microsoft.com/office/drawing/2014/main" id="{F948B364-7FF0-4BED-87B6-89B237917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2">
                <a:extLst>
                  <a:ext uri="{FF2B5EF4-FFF2-40B4-BE49-F238E27FC236}">
                    <a16:creationId xmlns:a16="http://schemas.microsoft.com/office/drawing/2014/main" id="{F84A65DE-A130-4E76-94A4-0FC2AAFF0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4">
                <a:extLst>
                  <a:ext uri="{FF2B5EF4-FFF2-40B4-BE49-F238E27FC236}">
                    <a16:creationId xmlns:a16="http://schemas.microsoft.com/office/drawing/2014/main" id="{68568D8B-AF2F-46B9-912D-674770F298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6">
                <a:extLst>
                  <a:ext uri="{FF2B5EF4-FFF2-40B4-BE49-F238E27FC236}">
                    <a16:creationId xmlns:a16="http://schemas.microsoft.com/office/drawing/2014/main" id="{104B615C-8593-4381-8CA9-628345DF59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8">
                <a:extLst>
                  <a:ext uri="{FF2B5EF4-FFF2-40B4-BE49-F238E27FC236}">
                    <a16:creationId xmlns:a16="http://schemas.microsoft.com/office/drawing/2014/main" id="{ADC558FB-DFF8-4E5E-AA7A-F99FBBAE3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0">
                <a:extLst>
                  <a:ext uri="{FF2B5EF4-FFF2-40B4-BE49-F238E27FC236}">
                    <a16:creationId xmlns:a16="http://schemas.microsoft.com/office/drawing/2014/main" id="{A94B761E-7811-43A3-ADF4-472C082B19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2">
                <a:extLst>
                  <a:ext uri="{FF2B5EF4-FFF2-40B4-BE49-F238E27FC236}">
                    <a16:creationId xmlns:a16="http://schemas.microsoft.com/office/drawing/2014/main" id="{1FA415AE-DBCF-4433-8DE6-6961DD4041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4">
                <a:extLst>
                  <a:ext uri="{FF2B5EF4-FFF2-40B4-BE49-F238E27FC236}">
                    <a16:creationId xmlns:a16="http://schemas.microsoft.com/office/drawing/2014/main" id="{49E970A8-B21B-47C1-A781-2B56559157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6">
                <a:extLst>
                  <a:ext uri="{FF2B5EF4-FFF2-40B4-BE49-F238E27FC236}">
                    <a16:creationId xmlns:a16="http://schemas.microsoft.com/office/drawing/2014/main" id="{BAAB9D02-7F47-411A-A7E0-21EA13973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8">
                <a:extLst>
                  <a:ext uri="{FF2B5EF4-FFF2-40B4-BE49-F238E27FC236}">
                    <a16:creationId xmlns:a16="http://schemas.microsoft.com/office/drawing/2014/main" id="{8F8BD7F2-14B9-4A09-A790-89D149609D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0">
                <a:extLst>
                  <a:ext uri="{FF2B5EF4-FFF2-40B4-BE49-F238E27FC236}">
                    <a16:creationId xmlns:a16="http://schemas.microsoft.com/office/drawing/2014/main" id="{A8707527-E613-436F-836B-4A4B54779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2">
                <a:extLst>
                  <a:ext uri="{FF2B5EF4-FFF2-40B4-BE49-F238E27FC236}">
                    <a16:creationId xmlns:a16="http://schemas.microsoft.com/office/drawing/2014/main" id="{08D1DC22-A41F-44F1-AC99-86200473E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4">
                <a:extLst>
                  <a:ext uri="{FF2B5EF4-FFF2-40B4-BE49-F238E27FC236}">
                    <a16:creationId xmlns:a16="http://schemas.microsoft.com/office/drawing/2014/main" id="{7A653425-5485-4E5F-A689-BA0FDD4FBF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6">
                <a:extLst>
                  <a:ext uri="{FF2B5EF4-FFF2-40B4-BE49-F238E27FC236}">
                    <a16:creationId xmlns:a16="http://schemas.microsoft.com/office/drawing/2014/main" id="{1A40D22A-8684-44DA-B4AF-7781BCE84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8">
                <a:extLst>
                  <a:ext uri="{FF2B5EF4-FFF2-40B4-BE49-F238E27FC236}">
                    <a16:creationId xmlns:a16="http://schemas.microsoft.com/office/drawing/2014/main" id="{63568B9C-C4B4-441E-BB31-DCFF8EEE2A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0">
                <a:extLst>
                  <a:ext uri="{FF2B5EF4-FFF2-40B4-BE49-F238E27FC236}">
                    <a16:creationId xmlns:a16="http://schemas.microsoft.com/office/drawing/2014/main" id="{7550CAAD-8E1F-4C04-A27E-6712EEE120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2">
                <a:extLst>
                  <a:ext uri="{FF2B5EF4-FFF2-40B4-BE49-F238E27FC236}">
                    <a16:creationId xmlns:a16="http://schemas.microsoft.com/office/drawing/2014/main" id="{7FD7717C-1C41-41F2-872E-B3F996B7D7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4">
                <a:extLst>
                  <a:ext uri="{FF2B5EF4-FFF2-40B4-BE49-F238E27FC236}">
                    <a16:creationId xmlns:a16="http://schemas.microsoft.com/office/drawing/2014/main" id="{99A161CF-1D25-4A2D-84BB-E5DF5994E3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6">
                <a:extLst>
                  <a:ext uri="{FF2B5EF4-FFF2-40B4-BE49-F238E27FC236}">
                    <a16:creationId xmlns:a16="http://schemas.microsoft.com/office/drawing/2014/main" id="{95812E12-F6D7-419F-9F99-91AA44350B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8">
                <a:extLst>
                  <a:ext uri="{FF2B5EF4-FFF2-40B4-BE49-F238E27FC236}">
                    <a16:creationId xmlns:a16="http://schemas.microsoft.com/office/drawing/2014/main" id="{D3EC671A-70A7-48AC-9D57-3706970BB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0">
                <a:extLst>
                  <a:ext uri="{FF2B5EF4-FFF2-40B4-BE49-F238E27FC236}">
                    <a16:creationId xmlns:a16="http://schemas.microsoft.com/office/drawing/2014/main" id="{074E5076-67B6-4F94-BB50-49F4126D12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2">
                <a:extLst>
                  <a:ext uri="{FF2B5EF4-FFF2-40B4-BE49-F238E27FC236}">
                    <a16:creationId xmlns:a16="http://schemas.microsoft.com/office/drawing/2014/main" id="{6D1CC71B-0C57-41FA-90E4-871CC4478F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4">
                <a:extLst>
                  <a:ext uri="{FF2B5EF4-FFF2-40B4-BE49-F238E27FC236}">
                    <a16:creationId xmlns:a16="http://schemas.microsoft.com/office/drawing/2014/main" id="{D2DFC155-8870-4EF7-87DE-3398D7C90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6">
                <a:extLst>
                  <a:ext uri="{FF2B5EF4-FFF2-40B4-BE49-F238E27FC236}">
                    <a16:creationId xmlns:a16="http://schemas.microsoft.com/office/drawing/2014/main" id="{5FF42260-AD8D-42CC-BD81-59D63C0CD3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8">
                <a:extLst>
                  <a:ext uri="{FF2B5EF4-FFF2-40B4-BE49-F238E27FC236}">
                    <a16:creationId xmlns:a16="http://schemas.microsoft.com/office/drawing/2014/main" id="{FBAFDBEF-34BD-4A8E-BA42-2EFBF9CA2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0">
                <a:extLst>
                  <a:ext uri="{FF2B5EF4-FFF2-40B4-BE49-F238E27FC236}">
                    <a16:creationId xmlns:a16="http://schemas.microsoft.com/office/drawing/2014/main" id="{E617C14E-A2D2-4444-9E32-850D6CE40D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2">
                <a:extLst>
                  <a:ext uri="{FF2B5EF4-FFF2-40B4-BE49-F238E27FC236}">
                    <a16:creationId xmlns:a16="http://schemas.microsoft.com/office/drawing/2014/main" id="{075064B0-0B2E-457A-9A21-2C3FCCF71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4">
                <a:extLst>
                  <a:ext uri="{FF2B5EF4-FFF2-40B4-BE49-F238E27FC236}">
                    <a16:creationId xmlns:a16="http://schemas.microsoft.com/office/drawing/2014/main" id="{CEF20819-9DA3-40D2-9C20-C15F33F4D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6">
                <a:extLst>
                  <a:ext uri="{FF2B5EF4-FFF2-40B4-BE49-F238E27FC236}">
                    <a16:creationId xmlns:a16="http://schemas.microsoft.com/office/drawing/2014/main" id="{E908DACC-F052-4F09-B4B8-F88A03A1C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8">
                <a:extLst>
                  <a:ext uri="{FF2B5EF4-FFF2-40B4-BE49-F238E27FC236}">
                    <a16:creationId xmlns:a16="http://schemas.microsoft.com/office/drawing/2014/main" id="{CF7CFB8A-7CEA-43B4-B860-08D3D62596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0">
                <a:extLst>
                  <a:ext uri="{FF2B5EF4-FFF2-40B4-BE49-F238E27FC236}">
                    <a16:creationId xmlns:a16="http://schemas.microsoft.com/office/drawing/2014/main" id="{DB6D5587-4575-4E0A-BD29-9954019E3E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2">
                <a:extLst>
                  <a:ext uri="{FF2B5EF4-FFF2-40B4-BE49-F238E27FC236}">
                    <a16:creationId xmlns:a16="http://schemas.microsoft.com/office/drawing/2014/main" id="{F098E389-6F6F-42D8-A817-B978312DD6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4">
                <a:extLst>
                  <a:ext uri="{FF2B5EF4-FFF2-40B4-BE49-F238E27FC236}">
                    <a16:creationId xmlns:a16="http://schemas.microsoft.com/office/drawing/2014/main" id="{F6B5D714-194C-4F78-BA1C-3682B5725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6">
                <a:extLst>
                  <a:ext uri="{FF2B5EF4-FFF2-40B4-BE49-F238E27FC236}">
                    <a16:creationId xmlns:a16="http://schemas.microsoft.com/office/drawing/2014/main" id="{5D71ED48-0F1A-497D-AB0C-16A6F9300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8">
                <a:extLst>
                  <a:ext uri="{FF2B5EF4-FFF2-40B4-BE49-F238E27FC236}">
                    <a16:creationId xmlns:a16="http://schemas.microsoft.com/office/drawing/2014/main" id="{AD3A9BDB-5614-48ED-BF81-DA80CCD2E0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339A9B3B-278B-4682-9D71-FAFDA760908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3" name="Line 230">
                <a:extLst>
                  <a:ext uri="{FF2B5EF4-FFF2-40B4-BE49-F238E27FC236}">
                    <a16:creationId xmlns:a16="http://schemas.microsoft.com/office/drawing/2014/main" id="{B4E39C29-9E98-45DB-999C-2181C3568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32">
                <a:extLst>
                  <a:ext uri="{FF2B5EF4-FFF2-40B4-BE49-F238E27FC236}">
                    <a16:creationId xmlns:a16="http://schemas.microsoft.com/office/drawing/2014/main" id="{4E0DF0CD-53B1-4E5E-A8D2-65D20A4F6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4">
                <a:extLst>
                  <a:ext uri="{FF2B5EF4-FFF2-40B4-BE49-F238E27FC236}">
                    <a16:creationId xmlns:a16="http://schemas.microsoft.com/office/drawing/2014/main" id="{8C959B9B-4E52-434A-89EB-464665F099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6">
                <a:extLst>
                  <a:ext uri="{FF2B5EF4-FFF2-40B4-BE49-F238E27FC236}">
                    <a16:creationId xmlns:a16="http://schemas.microsoft.com/office/drawing/2014/main" id="{21E0687D-015F-4C68-BF7C-12B289A96F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8">
                <a:extLst>
                  <a:ext uri="{FF2B5EF4-FFF2-40B4-BE49-F238E27FC236}">
                    <a16:creationId xmlns:a16="http://schemas.microsoft.com/office/drawing/2014/main" id="{6EAD2E25-69FC-4568-B627-6E619E7A2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40">
                <a:extLst>
                  <a:ext uri="{FF2B5EF4-FFF2-40B4-BE49-F238E27FC236}">
                    <a16:creationId xmlns:a16="http://schemas.microsoft.com/office/drawing/2014/main" id="{2DC28211-EAC6-4C1C-A238-7C71F4F6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4">
                <a:extLst>
                  <a:ext uri="{FF2B5EF4-FFF2-40B4-BE49-F238E27FC236}">
                    <a16:creationId xmlns:a16="http://schemas.microsoft.com/office/drawing/2014/main" id="{51722CDF-16E6-4B2E-AF55-73FBD54C75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6">
                <a:extLst>
                  <a:ext uri="{FF2B5EF4-FFF2-40B4-BE49-F238E27FC236}">
                    <a16:creationId xmlns:a16="http://schemas.microsoft.com/office/drawing/2014/main" id="{44A2E2B1-7D47-4079-ADE5-A78C21BA09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0">
                <a:extLst>
                  <a:ext uri="{FF2B5EF4-FFF2-40B4-BE49-F238E27FC236}">
                    <a16:creationId xmlns:a16="http://schemas.microsoft.com/office/drawing/2014/main" id="{9BD3ABD6-466F-4715-97D6-1D74FFA46F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2">
                <a:extLst>
                  <a:ext uri="{FF2B5EF4-FFF2-40B4-BE49-F238E27FC236}">
                    <a16:creationId xmlns:a16="http://schemas.microsoft.com/office/drawing/2014/main" id="{AECE508A-2E4A-48C9-BF6F-03B1986D4D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4">
                <a:extLst>
                  <a:ext uri="{FF2B5EF4-FFF2-40B4-BE49-F238E27FC236}">
                    <a16:creationId xmlns:a16="http://schemas.microsoft.com/office/drawing/2014/main" id="{BA1C235A-B7F9-4900-B000-9278858BF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6">
                <a:extLst>
                  <a:ext uri="{FF2B5EF4-FFF2-40B4-BE49-F238E27FC236}">
                    <a16:creationId xmlns:a16="http://schemas.microsoft.com/office/drawing/2014/main" id="{F7AEF3A0-EFD0-430D-8D3A-154F56FB4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8">
                <a:extLst>
                  <a:ext uri="{FF2B5EF4-FFF2-40B4-BE49-F238E27FC236}">
                    <a16:creationId xmlns:a16="http://schemas.microsoft.com/office/drawing/2014/main" id="{AAAB28C6-7870-4E9E-BF4F-BCDFBE176E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0">
                <a:extLst>
                  <a:ext uri="{FF2B5EF4-FFF2-40B4-BE49-F238E27FC236}">
                    <a16:creationId xmlns:a16="http://schemas.microsoft.com/office/drawing/2014/main" id="{1EC5D5A5-25DB-42E9-9CBA-457CC7DE07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2">
                <a:extLst>
                  <a:ext uri="{FF2B5EF4-FFF2-40B4-BE49-F238E27FC236}">
                    <a16:creationId xmlns:a16="http://schemas.microsoft.com/office/drawing/2014/main" id="{FADCA535-19A7-41FE-94E9-8C0D48E709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4">
                <a:extLst>
                  <a:ext uri="{FF2B5EF4-FFF2-40B4-BE49-F238E27FC236}">
                    <a16:creationId xmlns:a16="http://schemas.microsoft.com/office/drawing/2014/main" id="{C7D028E8-2775-4DCA-9306-630BAAF9F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6">
                <a:extLst>
                  <a:ext uri="{FF2B5EF4-FFF2-40B4-BE49-F238E27FC236}">
                    <a16:creationId xmlns:a16="http://schemas.microsoft.com/office/drawing/2014/main" id="{C0BB7717-134F-464F-966A-58BD9D78B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8">
                <a:extLst>
                  <a:ext uri="{FF2B5EF4-FFF2-40B4-BE49-F238E27FC236}">
                    <a16:creationId xmlns:a16="http://schemas.microsoft.com/office/drawing/2014/main" id="{3C9B257B-9CF1-4BAB-9D47-C5B3CBDA2B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0">
                <a:extLst>
                  <a:ext uri="{FF2B5EF4-FFF2-40B4-BE49-F238E27FC236}">
                    <a16:creationId xmlns:a16="http://schemas.microsoft.com/office/drawing/2014/main" id="{F39318B6-81BE-480F-A68E-C2053802E4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2">
                <a:extLst>
                  <a:ext uri="{FF2B5EF4-FFF2-40B4-BE49-F238E27FC236}">
                    <a16:creationId xmlns:a16="http://schemas.microsoft.com/office/drawing/2014/main" id="{0793B223-4E8D-4F1F-8A64-634FB23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4">
                <a:extLst>
                  <a:ext uri="{FF2B5EF4-FFF2-40B4-BE49-F238E27FC236}">
                    <a16:creationId xmlns:a16="http://schemas.microsoft.com/office/drawing/2014/main" id="{4F8432D7-7CFD-4DE2-A6B1-E52F942A32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6">
                <a:extLst>
                  <a:ext uri="{FF2B5EF4-FFF2-40B4-BE49-F238E27FC236}">
                    <a16:creationId xmlns:a16="http://schemas.microsoft.com/office/drawing/2014/main" id="{08A65213-F231-4F69-8464-971B426D39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8">
                <a:extLst>
                  <a:ext uri="{FF2B5EF4-FFF2-40B4-BE49-F238E27FC236}">
                    <a16:creationId xmlns:a16="http://schemas.microsoft.com/office/drawing/2014/main" id="{C22287AA-7FD1-4C00-B5FC-742255C4D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F1EBEE90-7789-4223-9552-DAF102680E61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9" name="Line 231">
                <a:extLst>
                  <a:ext uri="{FF2B5EF4-FFF2-40B4-BE49-F238E27FC236}">
                    <a16:creationId xmlns:a16="http://schemas.microsoft.com/office/drawing/2014/main" id="{17C5C7E2-A1D2-406A-8BF7-BE8EBBB133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3">
                <a:extLst>
                  <a:ext uri="{FF2B5EF4-FFF2-40B4-BE49-F238E27FC236}">
                    <a16:creationId xmlns:a16="http://schemas.microsoft.com/office/drawing/2014/main" id="{7F3A02AE-C0EB-48C6-9B2F-EF556E2F4E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35">
                <a:extLst>
                  <a:ext uri="{FF2B5EF4-FFF2-40B4-BE49-F238E27FC236}">
                    <a16:creationId xmlns:a16="http://schemas.microsoft.com/office/drawing/2014/main" id="{1895221C-3381-4DF0-9940-F97DA31C1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7">
                <a:extLst>
                  <a:ext uri="{FF2B5EF4-FFF2-40B4-BE49-F238E27FC236}">
                    <a16:creationId xmlns:a16="http://schemas.microsoft.com/office/drawing/2014/main" id="{9C7AC440-CA5E-42BF-97B8-FFC65E8776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9">
                <a:extLst>
                  <a:ext uri="{FF2B5EF4-FFF2-40B4-BE49-F238E27FC236}">
                    <a16:creationId xmlns:a16="http://schemas.microsoft.com/office/drawing/2014/main" id="{23E2CAD6-AE9D-4E93-B023-457270AE6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41">
                <a:extLst>
                  <a:ext uri="{FF2B5EF4-FFF2-40B4-BE49-F238E27FC236}">
                    <a16:creationId xmlns:a16="http://schemas.microsoft.com/office/drawing/2014/main" id="{747C1B6F-294E-4D97-913D-FBCA8A95A2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5">
                <a:extLst>
                  <a:ext uri="{FF2B5EF4-FFF2-40B4-BE49-F238E27FC236}">
                    <a16:creationId xmlns:a16="http://schemas.microsoft.com/office/drawing/2014/main" id="{39B6BEAB-B9C7-4D05-9454-7D8DE10AD4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7">
                <a:extLst>
                  <a:ext uri="{FF2B5EF4-FFF2-40B4-BE49-F238E27FC236}">
                    <a16:creationId xmlns:a16="http://schemas.microsoft.com/office/drawing/2014/main" id="{8BFE5B21-B4B5-4C66-97BC-E11E4DE37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1">
                <a:extLst>
                  <a:ext uri="{FF2B5EF4-FFF2-40B4-BE49-F238E27FC236}">
                    <a16:creationId xmlns:a16="http://schemas.microsoft.com/office/drawing/2014/main" id="{D718A18F-8F47-449A-A82E-236F6DC3DD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3">
                <a:extLst>
                  <a:ext uri="{FF2B5EF4-FFF2-40B4-BE49-F238E27FC236}">
                    <a16:creationId xmlns:a16="http://schemas.microsoft.com/office/drawing/2014/main" id="{80256D9F-E531-4575-9C94-34C192412A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5">
                <a:extLst>
                  <a:ext uri="{FF2B5EF4-FFF2-40B4-BE49-F238E27FC236}">
                    <a16:creationId xmlns:a16="http://schemas.microsoft.com/office/drawing/2014/main" id="{01901D17-6E43-49E8-82C8-8DB0EC6D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7">
                <a:extLst>
                  <a:ext uri="{FF2B5EF4-FFF2-40B4-BE49-F238E27FC236}">
                    <a16:creationId xmlns:a16="http://schemas.microsoft.com/office/drawing/2014/main" id="{3BD6743E-D090-428B-967B-D9D29C42D2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9">
                <a:extLst>
                  <a:ext uri="{FF2B5EF4-FFF2-40B4-BE49-F238E27FC236}">
                    <a16:creationId xmlns:a16="http://schemas.microsoft.com/office/drawing/2014/main" id="{483C0ABD-872A-46A1-AEAD-5CD3FDB76B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1">
                <a:extLst>
                  <a:ext uri="{FF2B5EF4-FFF2-40B4-BE49-F238E27FC236}">
                    <a16:creationId xmlns:a16="http://schemas.microsoft.com/office/drawing/2014/main" id="{BD48135F-1ECB-46FE-9938-0EAD9F2386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3">
                <a:extLst>
                  <a:ext uri="{FF2B5EF4-FFF2-40B4-BE49-F238E27FC236}">
                    <a16:creationId xmlns:a16="http://schemas.microsoft.com/office/drawing/2014/main" id="{6BAA0522-D80E-48CA-871C-CE9EB17F6D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5">
                <a:extLst>
                  <a:ext uri="{FF2B5EF4-FFF2-40B4-BE49-F238E27FC236}">
                    <a16:creationId xmlns:a16="http://schemas.microsoft.com/office/drawing/2014/main" id="{EF18C0FA-4C33-4834-B713-5309EAFEC0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7">
                <a:extLst>
                  <a:ext uri="{FF2B5EF4-FFF2-40B4-BE49-F238E27FC236}">
                    <a16:creationId xmlns:a16="http://schemas.microsoft.com/office/drawing/2014/main" id="{D435A7F2-5DF0-4DD3-942E-5F94E0590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9">
                <a:extLst>
                  <a:ext uri="{FF2B5EF4-FFF2-40B4-BE49-F238E27FC236}">
                    <a16:creationId xmlns:a16="http://schemas.microsoft.com/office/drawing/2014/main" id="{5BEC079F-136D-4946-A117-1FAE91B4E4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1">
                <a:extLst>
                  <a:ext uri="{FF2B5EF4-FFF2-40B4-BE49-F238E27FC236}">
                    <a16:creationId xmlns:a16="http://schemas.microsoft.com/office/drawing/2014/main" id="{05596A8B-C6E6-4BDB-9491-A3246C391B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3">
                <a:extLst>
                  <a:ext uri="{FF2B5EF4-FFF2-40B4-BE49-F238E27FC236}">
                    <a16:creationId xmlns:a16="http://schemas.microsoft.com/office/drawing/2014/main" id="{DB247678-1358-42E7-B8D7-D300E0045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5">
                <a:extLst>
                  <a:ext uri="{FF2B5EF4-FFF2-40B4-BE49-F238E27FC236}">
                    <a16:creationId xmlns:a16="http://schemas.microsoft.com/office/drawing/2014/main" id="{07FCBEDC-9453-4F09-83DE-4E59DFE008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7">
                <a:extLst>
                  <a:ext uri="{FF2B5EF4-FFF2-40B4-BE49-F238E27FC236}">
                    <a16:creationId xmlns:a16="http://schemas.microsoft.com/office/drawing/2014/main" id="{02EB68B1-5DF3-4474-9DF2-2DCCFCD01A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9">
                <a:extLst>
                  <a:ext uri="{FF2B5EF4-FFF2-40B4-BE49-F238E27FC236}">
                    <a16:creationId xmlns:a16="http://schemas.microsoft.com/office/drawing/2014/main" id="{3E1E7A3B-9FC4-497C-BA82-701D3EB536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1" name="Line 256">
              <a:extLst>
                <a:ext uri="{FF2B5EF4-FFF2-40B4-BE49-F238E27FC236}">
                  <a16:creationId xmlns:a16="http://schemas.microsoft.com/office/drawing/2014/main" id="{3BC5F068-4FB6-4D89-9583-AE8D0EC5FF0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147">
              <a:extLst>
                <a:ext uri="{FF2B5EF4-FFF2-40B4-BE49-F238E27FC236}">
                  <a16:creationId xmlns:a16="http://schemas.microsoft.com/office/drawing/2014/main" id="{D9FF0320-1B90-446D-AE9F-5AA9A996A9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146">
              <a:extLst>
                <a:ext uri="{FF2B5EF4-FFF2-40B4-BE49-F238E27FC236}">
                  <a16:creationId xmlns:a16="http://schemas.microsoft.com/office/drawing/2014/main" id="{49507B19-9A92-476A-869B-45F7F977A0A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34">
              <a:extLst>
                <a:ext uri="{FF2B5EF4-FFF2-40B4-BE49-F238E27FC236}">
                  <a16:creationId xmlns:a16="http://schemas.microsoft.com/office/drawing/2014/main" id="{E10CCA7A-9D88-4F28-9AD6-A6073FCC41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04">
              <a:extLst>
                <a:ext uri="{FF2B5EF4-FFF2-40B4-BE49-F238E27FC236}">
                  <a16:creationId xmlns:a16="http://schemas.microsoft.com/office/drawing/2014/main" id="{0F2E3C48-9CE2-4BF2-A691-7CDCC899488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5">
              <a:extLst>
                <a:ext uri="{FF2B5EF4-FFF2-40B4-BE49-F238E27FC236}">
                  <a16:creationId xmlns:a16="http://schemas.microsoft.com/office/drawing/2014/main" id="{7C614BAB-EF11-4A6B-A919-FE1991BAF79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5">
              <a:extLst>
                <a:ext uri="{FF2B5EF4-FFF2-40B4-BE49-F238E27FC236}">
                  <a16:creationId xmlns:a16="http://schemas.microsoft.com/office/drawing/2014/main" id="{2CD8BDD6-EB82-4C84-A2E4-0EC07255276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57">
              <a:extLst>
                <a:ext uri="{FF2B5EF4-FFF2-40B4-BE49-F238E27FC236}">
                  <a16:creationId xmlns:a16="http://schemas.microsoft.com/office/drawing/2014/main" id="{AEA01726-6BFE-47DA-A46A-9881534AFF5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9" name="Rectangle 148">
            <a:extLst>
              <a:ext uri="{FF2B5EF4-FFF2-40B4-BE49-F238E27FC236}">
                <a16:creationId xmlns:a16="http://schemas.microsoft.com/office/drawing/2014/main" id="{1C361E2F-E1A6-4CAD-A2FF-0E88B0390FA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id="{AF9E5E83-D171-41FD-9150-90EA840C3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  <p:sp>
        <p:nvSpPr>
          <p:cNvPr id="17" name="Freeform 10">
            <a:extLst>
              <a:ext uri="{FF2B5EF4-FFF2-40B4-BE49-F238E27FC236}">
                <a16:creationId xmlns:a16="http://schemas.microsoft.com/office/drawing/2014/main" id="{6EB0B5B1-87E0-47D3-8743-7D6677736709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251200" cy="3232800"/>
          </a:xfrm>
          <a:custGeom>
            <a:avLst/>
            <a:gdLst>
              <a:gd name="T0" fmla="*/ 0 w 1090"/>
              <a:gd name="T1" fmla="*/ 0 h 425"/>
              <a:gd name="T2" fmla="*/ 0 w 1090"/>
              <a:gd name="T3" fmla="*/ 425 h 425"/>
              <a:gd name="T4" fmla="*/ 789 w 1090"/>
              <a:gd name="T5" fmla="*/ 425 h 425"/>
              <a:gd name="T6" fmla="*/ 1090 w 1090"/>
              <a:gd name="T7" fmla="*/ 123 h 425"/>
              <a:gd name="T8" fmla="*/ 1090 w 1090"/>
              <a:gd name="T9" fmla="*/ 122 h 425"/>
              <a:gd name="T10" fmla="*/ 1065 w 1090"/>
              <a:gd name="T11" fmla="*/ 0 h 425"/>
              <a:gd name="T12" fmla="*/ 0 w 1090"/>
              <a:gd name="T13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0" h="425">
                <a:moveTo>
                  <a:pt x="0" y="0"/>
                </a:moveTo>
                <a:cubicBezTo>
                  <a:pt x="0" y="425"/>
                  <a:pt x="0" y="425"/>
                  <a:pt x="0" y="425"/>
                </a:cubicBezTo>
                <a:cubicBezTo>
                  <a:pt x="789" y="425"/>
                  <a:pt x="789" y="425"/>
                  <a:pt x="789" y="425"/>
                </a:cubicBezTo>
                <a:cubicBezTo>
                  <a:pt x="789" y="425"/>
                  <a:pt x="1090" y="425"/>
                  <a:pt x="1090" y="123"/>
                </a:cubicBezTo>
                <a:cubicBezTo>
                  <a:pt x="1090" y="122"/>
                  <a:pt x="1090" y="122"/>
                  <a:pt x="1090" y="122"/>
                </a:cubicBezTo>
                <a:cubicBezTo>
                  <a:pt x="1090" y="122"/>
                  <a:pt x="1090" y="65"/>
                  <a:pt x="1065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2AA03BB-599C-47B5-9321-D63D52FA2133}"/>
              </a:ext>
            </a:extLst>
          </p:cNvPr>
          <p:cNvGrpSpPr/>
          <p:nvPr userDrawn="1"/>
        </p:nvGrpSpPr>
        <p:grpSpPr bwMode="gray">
          <a:xfrm>
            <a:off x="0" y="0"/>
            <a:ext cx="9144000" cy="3724236"/>
            <a:chOff x="0" y="0"/>
            <a:chExt cx="9144000" cy="3724236"/>
          </a:xfrm>
          <a:solidFill>
            <a:srgbClr val="0036A1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E572D847-002F-4800-8BFF-4B54D1585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63961" y="0"/>
              <a:ext cx="3180039" cy="3231867"/>
            </a:xfrm>
            <a:custGeom>
              <a:avLst/>
              <a:gdLst>
                <a:gd name="T0" fmla="*/ 276 w 420"/>
                <a:gd name="T1" fmla="*/ 0 h 425"/>
                <a:gd name="T2" fmla="*/ 301 w 420"/>
                <a:gd name="T3" fmla="*/ 122 h 425"/>
                <a:gd name="T4" fmla="*/ 301 w 420"/>
                <a:gd name="T5" fmla="*/ 123 h 425"/>
                <a:gd name="T6" fmla="*/ 0 w 420"/>
                <a:gd name="T7" fmla="*/ 425 h 425"/>
                <a:gd name="T8" fmla="*/ 420 w 420"/>
                <a:gd name="T9" fmla="*/ 425 h 425"/>
                <a:gd name="T10" fmla="*/ 420 w 420"/>
                <a:gd name="T11" fmla="*/ 0 h 425"/>
                <a:gd name="T12" fmla="*/ 276 w 42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0" h="425">
                  <a:moveTo>
                    <a:pt x="276" y="0"/>
                  </a:moveTo>
                  <a:cubicBezTo>
                    <a:pt x="301" y="65"/>
                    <a:pt x="301" y="122"/>
                    <a:pt x="301" y="122"/>
                  </a:cubicBezTo>
                  <a:cubicBezTo>
                    <a:pt x="301" y="123"/>
                    <a:pt x="301" y="123"/>
                    <a:pt x="301" y="123"/>
                  </a:cubicBezTo>
                  <a:cubicBezTo>
                    <a:pt x="301" y="419"/>
                    <a:pt x="11" y="424"/>
                    <a:pt x="0" y="425"/>
                  </a:cubicBezTo>
                  <a:cubicBezTo>
                    <a:pt x="420" y="425"/>
                    <a:pt x="420" y="425"/>
                    <a:pt x="420" y="425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2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489BB72E-01EE-4687-AA34-CF821069FA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3231867"/>
              <a:ext cx="1088395" cy="492369"/>
            </a:xfrm>
            <a:custGeom>
              <a:avLst/>
              <a:gdLst>
                <a:gd name="T0" fmla="*/ 0 w 144"/>
                <a:gd name="T1" fmla="*/ 0 h 65"/>
                <a:gd name="T2" fmla="*/ 0 w 144"/>
                <a:gd name="T3" fmla="*/ 65 h 65"/>
                <a:gd name="T4" fmla="*/ 144 w 144"/>
                <a:gd name="T5" fmla="*/ 0 h 65"/>
                <a:gd name="T6" fmla="*/ 0 w 144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65">
                  <a:moveTo>
                    <a:pt x="0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51" y="2"/>
                    <a:pt x="139" y="0"/>
                    <a:pt x="144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3375" y="315665"/>
            <a:ext cx="7027544" cy="830997"/>
          </a:xfrm>
        </p:spPr>
        <p:txBody>
          <a:bodyPr>
            <a:noAutofit/>
          </a:bodyPr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Een korte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3384" y="1100529"/>
            <a:ext cx="7028617" cy="503023"/>
          </a:xfrm>
        </p:spPr>
        <p:txBody>
          <a:bodyPr wrap="square">
            <a:noAutofit/>
          </a:bodyPr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val="244122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D870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2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58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87E800E8-A3E2-49D1-B18D-ECFE2C6CA07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EE29BD4-B025-48A5-BF73-515F6C5907E2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E030D44B-36C8-451D-A54B-2A8C3362D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11580E1-EF9E-432D-A9C7-79389588B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D88503B5-088F-42DB-BDFC-80E4F1DCFF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84266C04-D895-471E-81D0-C19921432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A2A8FB1C-06A6-42B7-9F9D-56ED524F6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099DBDA0-59FF-44EC-B375-1F8D01A628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7E7CE5DC-F9EA-4A78-9591-D915A6EF9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88D19A9A-0E91-4CE2-8D65-C22EC4340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470D242A-15E9-4D68-B9C4-42F7F12AF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52AE9EF2-1460-4A8E-B4FC-828A3065D0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EC75F7D8-0400-4C5B-9762-DE804C98F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304662E7-3F74-4C77-99B7-1DA2556E9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2AADD8C1-E7AD-4605-8A95-67EF298F96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40227E01-0617-4150-9DF7-BBD240E711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E4F31B75-BA27-488E-BD71-30311013FC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3B7D5FD-6A0F-43D6-87F3-6F418F0751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4C4E56CB-B3F8-410F-B871-ACD7557BCB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E814F3AF-3DCC-40F1-92A4-B74F89548F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E198948F-0F8C-4A29-977C-9174B4F9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3EB56464-A311-4557-9DE3-B8BD09F76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BE1DBA8B-C9E5-4989-AB2E-F91CB9F45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FD922DB6-6746-4DC0-A5A6-5B4085EBE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F2E6AF85-FF53-407B-A138-5FF1750AB2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D18D47B2-D66A-4557-A18C-C443C90B8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A6223D3A-8076-4E6E-AA1F-4FD0E824B3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010D2D89-F3D8-4E68-A902-2559E14D6F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BE1E529A-8CB5-4A3E-87A4-4FD1F58626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34B7A924-B039-4C47-B3EC-424571506E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8D31C2ED-DF1C-46BA-885F-6F52E9AA6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92638225-FE24-4319-86BC-B843116B25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1E64271E-BEBA-47BA-8ECD-6DBC8136D9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6CDC3FE0-0F47-4592-9E2D-8246B0A923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C818E8E8-FBEC-40C8-9234-B539586052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BABDE085-01B7-4CB4-A832-88D61AD4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63BEA38-911C-4207-A0DD-341AFDDC6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5FDF9426-2498-4000-BA57-8F4528C850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F3FFA1F3-8B70-476C-804E-0731ADD27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8D90B6AA-A437-4B49-AE63-544EA6F878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1A61E73D-1456-4F21-91A0-6941C5DEEA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4F7907B4-0D84-4293-A7A2-4AE06B4AF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BFA90C58-2722-400D-BD9E-FC1C8BC18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CD97C55-81A7-455B-B768-EDEED60A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859C4D5-4E96-4F9B-BC3C-E9EA532DE1A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3E77011A-5608-4A9E-8FDC-DCED28030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C08353AD-8854-4239-8EFE-2C5E8C3C11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A4A928BB-87D0-4A34-ADC7-7980330A71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35E471B1-735B-456B-9D17-2684FCBAC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2D002940-4AF1-4E67-BA4D-5F81E4E30C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226FB9E3-112A-46B8-B134-644E047F30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F3D87118-D52D-4C37-AB5E-AEC13D534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26AAE2B6-A4FB-4F81-9016-86C9ECB07C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8DA209D1-1F0D-4A80-B915-72733109E0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BC0BA829-808D-44B8-8675-D9ED6C6D4B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120F20A-5A8E-46CB-9B3A-B410AB271C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656D628A-CAB4-4A80-AC02-333A55225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BC9277D5-E731-48B3-879E-428CA616EA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A84B4307-FE1F-4CA1-832F-BC292C4B4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523B8D27-F2F5-4934-B268-8ED7A4FEB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E216571C-22D1-4E18-AFB5-C22A2D496A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B082E4BF-BB1E-4C3C-86EF-D38873DF2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E6CEE99D-5459-425B-9391-270AA13642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99FD9584-E391-4F2E-8A2F-B4281C2E98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7B9AF43F-5F3A-4212-9755-9626BBC9B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E093B1B6-E079-46A1-97C8-0931A402C8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8E085649-D976-4639-88E0-D1884CD36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5217A9B6-3F44-4867-A000-7675235F6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705897A5-CE10-48F8-A925-DB799D09A1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14777275-DD9E-43E4-A5E4-F2E2B6E220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F565201D-1D95-4D46-A15F-1E237716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95CB1ADA-8C71-4D7D-B861-E88FD7266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93B41631-3162-428C-AB17-EE4550A868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D59E3E79-4371-43CF-8B0E-1705EB09E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61B35719-8830-47E7-A84E-27B8760814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FE9FDB84-4C76-4891-AA64-B42F7476C7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59EEE78-54B7-4780-890D-6790849A8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1A77BF07-6AC2-4149-88C0-B15879D884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B63CE22C-B5F8-43A9-A8F8-726D7FA880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DB739D51-CFF5-489E-98DD-A09AD5F907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BFB80EDE-56A9-438D-9E4C-CD44D9E1B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FDCBBCF8-07E0-4BB8-9407-7F6DB6AA7C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96035CC3-C1BC-48C8-B6B6-4E75514005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1808CA1C-FFAC-4A85-95B5-92EEBDC3FA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875A6D1-B0CF-4478-86F1-90AC1C6082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DD34F65A-DD27-4A86-A81F-E08227EE8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B073A529-358C-46ED-8014-D09CE8E0B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23BE6890-83B1-48E4-A405-E6202EA9F10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ADF4C8E1-65C0-41B0-B7B0-39EFFB50A8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9A0D2B07-F9B3-4AA3-BFE0-03C8CADF7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77FFBAB9-F8CA-43B6-A0A9-15615BCC6D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EAB8CEA3-FAD7-48DD-A7B6-C2897EA5C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6586D114-8CCD-4BB6-A21E-CFDC82ED6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AE1C06C-8FC4-45AC-A89F-9378112487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05778FD5-468F-44F4-8520-156992FFA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DB5C4F6B-4523-429A-9113-1EDB46DF7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98E34474-DCBD-48FB-8D5A-36202F250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EA976C72-70E6-4D01-997C-6EADE0E13E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ED6BB9F-D44A-4549-B021-2CD8C2B8C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7ED593B8-CDF0-4594-A27F-D58967827F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F9A6361A-A148-4F81-9939-27C91BA1F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B62C5043-1C89-4950-8D84-8D4033E47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2A5FDD7A-EEB9-461B-BE3C-B60CA21B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C32120FE-6789-4EA8-BE36-232534F8E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38B3D2C1-6D21-4EA4-AB96-474340D6CA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E8BE8675-9100-4D43-95CD-45F73019A7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8959E1E1-0D81-49C5-A479-000C84B97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5B4094F6-4309-4DA4-9576-E1516DCB2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856B5519-80CA-4034-8332-0325031F2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C6A1EF8F-5F4D-4C76-B391-0F538E065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9A245609-BA83-42B1-849D-B4A1A4CBD3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F64B453-13BA-4AB9-A654-1CAE4D62A95C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7583E1AC-F9D1-40E0-BC94-BD2837CB9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4B4A71E9-B01F-4804-A12D-C16A5C0A4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AA14801D-36AB-4C3F-AC91-9F944E2CE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9778D834-44DE-4D50-96DC-E6ED20914D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079E90C-06C9-4B6B-8A01-2FCA52A4E6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C0C8D826-FCCB-4817-9BF0-F24ED0718C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38434E0E-8851-4730-BFB1-42EB25B81B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E8957A04-0DC1-4505-8437-B61249D7BB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24ECBEA7-C7BE-48C4-89CC-C7A9487FB9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6C046387-D980-46E5-98AD-C1C89088A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D56F055F-715E-4095-946F-AF686F6D6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E968C237-C1E3-4C29-A48E-683EAC7042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2775A352-318A-4B21-979E-8B97EAA50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3BD4E823-80A1-407C-B376-FB2EFDD96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8961885-67BA-46D5-88CA-866BB6FF3B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6FC37BB4-3F5C-41B9-A5CA-6BE5D8679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C9F13528-6D6E-4279-A936-D7E153B269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749C0C5F-9A07-407D-B9DB-5EEF846B8A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D36BEF33-04D6-438B-96FB-3A253C079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7C95D81B-B31B-427B-A43F-8D640328B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3C05514F-3D7F-4172-B22F-309526812A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0F98F500-9F42-43D3-8E26-8CEA815B11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10D6F6B2-BEDE-4755-9492-EB0BEBD7E5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C87CA487-BDD5-40BA-B711-C712262647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8EA0B945-3F20-44DA-B85D-7BED187BCAD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DA923A52-8351-45F3-9849-BCA7758F78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3F26E7B3-B5BB-42AB-B16C-A50F2059FEF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B5356ADE-2AFB-43AD-A569-AA09358FAE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7F20099E-7BF3-4E3B-AC9B-DC53EF62550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677E3E2D-C541-4073-935A-70B341840E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3BB9A472-B521-465A-AC72-3B4C4F90D1F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2976A79-4836-4816-8509-0B534819969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7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6378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6378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F87B0ED5-F0F9-4B0C-8382-054BE92320A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14567C-D723-479A-8B6B-A56C0D95CFA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747818-895A-4B49-B986-B73FF1FBA4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300" name="Picture 299">
            <a:extLst>
              <a:ext uri="{FF2B5EF4-FFF2-40B4-BE49-F238E27FC236}">
                <a16:creationId xmlns:a16="http://schemas.microsoft.com/office/drawing/2014/main" id="{BB3ECAA6-3605-4462-BF95-8966139F52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956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B414E3D3-6566-487B-85D3-C9E15C92AE9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CDB59087-B4D6-49DB-B413-06FD9325A47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44ED8F52-9588-4329-B165-F4869392F1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8C138FD0-2ADB-4B87-BFA9-47F5C9B33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0EED985A-F0C3-45C9-87BC-845AC66E0F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E2816E1-E4CE-4ECC-B62F-C1E2947AE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51D3B09E-5E08-4D11-B9B9-245FB71FAD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BC182DE9-16A9-43C0-9501-2A07407410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F845B24D-6E4D-4B9C-858C-97DB5FD07F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73AF4A49-A196-4B79-85C1-EB5495C7BC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0370FE3F-91D6-41B1-BF36-6E79E91D41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B799033B-784B-4D66-AFC0-1A25BA2E6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E6930B26-A99D-4704-BB9C-FDA0155A53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A9486778-5E57-4536-B967-B3969B6FC7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0F525752-2818-40B2-899B-4583DABF7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FDA0288C-F42B-45AD-942D-FB79999C0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541BCE71-5CC1-4276-9694-6FB29F4F91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CB5F7A75-8A2D-4554-876F-360C9F79C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6A2076A7-4083-4213-A062-7A8741C785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B3753BBD-FE6B-40AE-B40B-B75A171E6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DCCF373F-3A5E-476E-811E-A422EF8E1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B2747283-ACCA-4BB7-ABD7-EB6124ECDA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5BD4239D-480F-43F1-A749-B37354D7CF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E152B1F4-6CC3-466C-8E0E-D1FC04760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ABF5FB36-3378-4556-A6C2-F2CE1A40D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A60A7C6B-58A3-4AE1-B1F0-B3FFF4D71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D484D72B-9F4B-4BEE-B4DE-E22AFE61B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A186E3B7-B73A-4AD1-8D79-235C3831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00E90287-EE23-48E3-B470-90F3C6D738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5062F5-2CF9-4084-B1DF-50AD84A965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FE52CD96-5515-4AD5-AD56-89D675A790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989BE09A-8F05-4067-90BF-4E1C1DC203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59354257-238F-41FB-97E1-206B5B806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E0EFD6AC-F48B-441F-8D7D-466E1466C0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A06704FE-BB71-4093-8D97-B2B62BE95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D8BBE1AE-104D-4511-92D3-B99EDBC160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7D84403A-8E05-4775-AA9E-56D97DF36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2C3B86C2-9610-43BE-85C2-E1AB35FAA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8A3685E5-F855-46EA-A493-9B6DA3323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1CCBE970-0F82-4BAC-91D4-3B6AB61B64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6E5C5625-4ABE-4386-B712-6F0DA6B7C4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A59E065C-2E85-4ADE-80BD-2B8ED0D35F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1A4EA0A2-25D1-4F5C-BF67-02814B75FB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D659E33-6FE1-4A20-854C-630AEDE94E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528E3A6-71B9-4EDD-8400-FE00C57A9F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D1C6444B-401C-4DEE-AB19-5F09417091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1DFEEDC3-DF45-4ED7-91A2-B19DA2BCFA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5888EBDD-63ED-40D8-BED3-D2C1AC8B49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4129EC8A-5A87-4823-B494-8097474204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5D49753E-5C2C-46A4-B112-DB0C8EC49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CA158540-28C4-4E03-891B-796660E83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55FE4ABB-E473-43E4-9BE9-A4237CDB1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AA4C3B76-AFCD-487F-8DF7-039CA4EE27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54CDD7C2-7896-4C99-AA8D-C4EFCB339D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BCA6715A-EE7A-4633-B3CA-8DD26ABF7A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BE24101-821F-4130-94BC-4D4E8DA874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846D7EEE-E42B-43D3-BBE1-FD4E1C66B7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D1D47516-7AC2-45F8-B648-45FC73D006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D79B2FAA-8DCD-458B-BA1F-7CE69D1EAB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B092C72D-1AB3-4261-B5EE-B2F4FCA020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87E48A22-8F91-46B4-8CC0-ABA3943CB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6326445D-3884-4321-A82B-B44A8A734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62415126-9540-4249-B661-72E26E889C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3FB9DA18-C69C-4A1A-9396-7EA20747B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74E9939-EC77-4674-9383-7840D20935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BFA16474-DB5D-4859-8CE4-6BCD8EB1CA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05C4FB2E-FF54-4AD7-8350-6F2B8B5DD6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CF8ED026-C1A6-46F2-9E36-354ED278C6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CF70B03A-4E11-4112-A0D7-B9C773064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040C540F-9A30-4DF6-89C3-DC4665CB6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F558F826-BD65-48F4-8557-62DF40AF7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284054E7-28A5-4C3C-8652-2BDD0B025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C8889FB3-7AEE-4A54-B284-65E0C84C7B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C871B330-C24C-4BC0-A77C-697A98A218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8912764-53DC-4B70-B9C9-03EE1266DC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503D9FC4-1EAC-4D68-8ACD-539D28A8DB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3EC9E139-8067-4616-86F0-FF5CA801E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8CB89EC9-8ED3-4740-B63B-141A65CC0F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DF234FF9-4351-44C2-87A2-3ED9B0E30C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4E9D66A2-8755-4230-AFC2-AE72D87444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1EE131B9-5C62-4F5F-84C0-1CA6B44A86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2771EF4E-BF9C-4B59-A271-7F19C523FC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5C98CA58-872B-49AF-B771-DCD3B328E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64DA76EA-2242-4B93-9911-6044D84C3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0941BE49-C781-47A0-98EE-D1910D24E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50F1222C-A0C7-4A0B-986C-9344295607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56AA6CD1-2BA6-4CE7-BB2E-C1C0FF17A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CCD65EE-1449-4D3C-B4C9-1CCACB12A01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7FC9CCE-3434-4CD2-9B14-27B481E70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CFBC2EBF-D1ED-4E71-BAF3-FDC8001824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D5D2F238-6BC3-49F0-9C21-9FBA61B777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743CD532-20C5-41C4-830D-031414EF2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325D28F0-72E0-4E6A-A68B-B450EEC44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D428F1D8-8120-4082-8010-DE5AE6671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840B4B6A-86D8-42F0-949B-18F5BFC7D0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EE94CFC6-7EF4-43CD-B296-25396B6BE2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8EDB8D33-21E5-4FD0-8473-56F46B31D9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9C36571-E191-4E84-9098-A956563E1D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9AA67FFF-C12E-4751-97BC-D34E6A82C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B70AD9ED-9D8E-4BEF-B860-427C70147C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96FDC682-2B1C-4D0A-A1A0-76C81C761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DA9D55E0-382D-4818-AE98-DB0D779D83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267D6CE0-9A69-4450-9338-5FCC41603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28BEB5EB-9E6E-4F15-B5F6-E2D27F0640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C19C7801-75DE-4355-9895-B648D5C2F2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4B742603-4A18-4D19-9209-F3E35E4DB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B06CB652-2283-4499-859F-031B606C8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BC35351C-52F6-4BDD-8DAE-644E78BF9F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796A2991-E5EE-4749-B013-54D9B594F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F2F405DF-03D2-46E6-A8D0-254F1AB778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8E8E018-C4EA-4B15-96A2-5B70570664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226EE7FD-C566-426B-91B2-8D8E00E66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C63E59F9-E0F2-4FDA-A109-0524610651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235742FD-32B5-47D9-AB7F-4DEBD75FAF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4DD930CB-9834-478B-A24A-FE69C8B01D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1DBFACCA-625F-41D9-9860-0C64433C5E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A893EAE1-E479-428A-8170-E94EFD10BE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1010ADED-9257-4D56-B886-E127A8074A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EFC5ADA8-19B8-4674-9F09-DF35A2A364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B8439467-94DA-40C8-8C8A-5AC976E221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90B54B20-E16F-4EE1-8DC7-74FDDDCD6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A53E5273-F3F3-4594-A0F2-FEAE9C86DD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6239B7D8-83C1-43F5-BD1A-D8EC0102B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E48E9D29-DED5-4222-A343-D98622BE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1BC093D0-F638-4EBD-9EA5-7771BBF65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F184A474-1C23-4E7D-A0F7-CA2CB98DF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5205142D-C334-4D2D-B668-177BAABB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EDB00BC6-0F17-4C96-A6C7-A2B73E4844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972DB274-F8DC-4AD7-AA10-4754CAD863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0978D8CC-0B2B-48FA-AD79-79712E17C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DECB0485-7B56-44D8-8FB3-64E78BBA80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DE89A01A-685E-495B-AEE4-2698DBC27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9B7BC2D8-5A68-470B-B05E-92ADE0FF8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42A19953-0D7E-4765-B0F2-943A22E3CC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6FAED30-CA1A-41E5-914A-428886C58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DFAFDB27-FE9E-4727-9B61-9966E63163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ED8E7074-9256-4F96-9AD1-D8B0440E276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FEF60D82-2BFB-4423-B9C7-2D5ADF0CE7E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51E7E1F-6962-463C-9CD5-8D266849802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D97DC20B-3764-4E4D-A77C-34B962B68B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9FC31F52-CCDC-473A-931C-5F5BAD40D23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BFA28A67-74F8-47CF-9F8C-8072DCCFC55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875D66BA-CC23-46D4-A129-47B25DB224C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367F321-9944-4480-878B-15325789CDD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247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200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2005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29F2DB12-1BED-4FF9-9E72-9C1743F17C8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F14F3E-1D50-44F7-BB9E-4D9A2145BC1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56939D-375D-470D-998D-5F7F3C64B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CDD3E54A-F1FC-47DF-84AE-BC9EDE1662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3749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3B9FBBD-4888-4D6D-A2D4-AD842EBF9B9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80042E7E-E392-40B4-B3E8-C01B64EF79C9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04206B65-DEAE-491E-9641-D78E82D475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52713404-4274-4977-9E1B-970DBE7C84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74C5FDBA-9F9B-4E62-B2C4-50812946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B5F42B94-53EB-433F-ABDB-3525A1D8CF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0B0E30AA-966D-4C4B-A6DE-B3ADB3F610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B34312BC-3CFC-45EC-8A9E-1F496AB8A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AA51976E-9F08-4B76-B15E-C830C2CC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4470F405-7F39-4991-A17E-C71B0478E1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9AA3515D-B87F-4FEE-8506-DE291FF4B5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84543457-0118-450A-873A-1B0947E066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CC27B72A-5C86-4C2C-B0E6-524039F6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1E01E9E8-3E1F-4533-B5E8-9C08506DC5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71AE32AF-00F6-4235-8A24-1FE886EBB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DF001DE-C286-4D12-A9DE-09146962B1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73727F0-7F57-4D3D-8DF0-0B3ADA460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B9FE1C00-4E75-4E4A-BBAA-A35ACE8B9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6801C6A-C1B6-4518-8728-1890C7E915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A77D5918-DCDB-499D-A7C4-5A443B554B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5B02BF13-6EBD-4CDC-931A-0CE8C1FB9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48E396F8-DAD4-4EA8-A57D-4880717E26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09BAA784-AF2D-4DEC-8E68-5B4A5618C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8C6A600A-6AF2-4C98-85D0-F598C1B33C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13A0906B-8E26-4B98-973B-1CD63BBC18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DB8F0EFB-0CC6-4B3E-B1EE-A7B58634F3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5A21D1B7-E391-40C2-BB5E-73FFE33E00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15EBE2F-5BEE-4F72-93E3-96B363433F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E72A1B44-D526-478D-88AE-D086C553C4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B6E81D90-F6E8-4C85-93A7-6E3EE6F94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C16DA5A-C777-418D-9C99-51536918C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D38908FC-0DCB-4735-B690-9572FC86F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BB6963D-77DB-4EF6-A88F-278724AA6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53EABC85-E5A3-4B53-B66E-8FBEBBBC2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AF0B37BF-B55E-4A7E-8AC9-9BB3CE1C35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62DBD34A-AE43-41FB-BBE1-7B3A75469F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56F65149-EEE6-42B0-B4D1-7A9CA1DAE0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11CCB56F-7E70-4274-A0BE-00D44DDCE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A952A57-D67C-4D59-B1FF-FCCEF28BA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2390B046-F7C6-4B71-A495-60C3CFED6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AE349A30-F2BF-4634-8D8E-2AEDB8AAC3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A626F56A-DB30-4B5D-831B-3DEDCAE2D2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4484CD0F-A18A-458B-B1C1-9CCCB1E170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5231AB5A-8039-4408-BF8B-9A1E16C73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9B89BE72-9D40-4AFB-925A-C0D73702B90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81F44CC5-6404-4F65-A349-1987D022E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8D662691-4C23-494A-93F2-612969AC8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D0AA1B4C-6EEF-471F-886B-C6C3547F9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BE3BE175-B072-4E4D-BFA8-4EA40C40B1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6EAD880B-7A44-484E-8FFC-37ECF21D3E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408FF107-3ADA-404E-8AAF-D9DDCBD75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BEBCCFF8-4286-474C-8F5B-6D2541F95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D090C3FE-7128-4573-A0B3-76F327CB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C5CB01-4F58-4825-B444-4B5EAA83A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79F0BAA8-65FD-4625-8298-2808EB6CE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5A358D7F-6EDE-49A6-85A5-32D47A24D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3E125D16-2225-408B-8458-DD98068EF0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56E45AA6-B1A4-4457-A44C-3F8E12BB50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E0041D2D-869B-4D09-A067-FAF5F2A6CA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47C716FE-A151-4D2F-99AE-92365BC46F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40B4C050-0CDC-4D18-86D0-CC5B52A005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30426B96-B49D-4E29-A85B-BD195480D8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A26580C9-8B8F-4238-97BE-9F58DC3F35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620957FD-BB61-4755-89C6-D4B650F12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F164D4C-524E-40F7-AB16-11561E05A8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236F1495-1F0C-4FCF-9812-14AEEFAD44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EF883674-1886-4AF3-B775-CD0C250EC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536A721E-5BDC-43F9-A28B-98F8147B45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2429F86D-37DF-4C1A-ADE4-C363ABC37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CDFFDCEC-AAD3-45A3-9B1A-C0C3370F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9B8EF156-3F85-4EE1-8D05-86531ED5C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AE9D12C3-2A8E-4886-B0D5-8508110091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1DB9C544-2028-4453-9F42-FC5F73FA5E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CB73E31-30E0-4B5C-B3A8-C2771B9B9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0333117A-2F08-4695-8F9E-711459DE9D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2411BC6C-9F38-4FF9-8EFE-B0BA2DE5A3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1117DB8A-AA1C-4B95-8605-6DA4FBEFC4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2AADC7BC-CBE7-4085-AFDE-E1B5D5627A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DC06B253-6675-4136-87C1-411D1734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AA5C1CC8-FDA3-4027-B4C3-4B4A31485A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C0C9E998-D31F-4AB0-8A6F-449342F6B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2238E69F-F820-4371-A215-2E5F69BF05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68E6D6B6-9A93-42CA-BA7B-421F379A9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05760661-AD62-4983-9729-801573107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123E5A6-9166-4836-B7CD-B6463540EF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C3F33263-2B5B-43AB-8A4A-5D3B3F841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71EBE4B7-31C9-4569-9996-4A30AD0663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5C12CDA4-294B-46B8-A95B-552724AED46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3DDB6B80-B998-4F47-B82B-C5635342E8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E86A06E8-F72F-4733-9585-72798958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EEA5FEDE-B75E-458C-A850-27C253A6B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54673A30-5A99-49F7-8BA4-4DC42977FD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2CCFDC45-A338-439B-9EA2-A0BC3B9337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5845E863-6FE0-4775-BD44-673CC8648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D85D0537-54F6-4C6E-9CAC-937B11E998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42B5211-8EEA-4A49-896A-3BDCE0D93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8C8F58DE-C44D-45D2-B151-62FE9E25D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BF0A344E-7A3B-4384-A07C-56FF65FE0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AE494678-3889-4464-9BCE-D3875318E5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B1B05373-3A92-462F-BE89-E73CFE009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A7C23271-8888-4A6E-B132-C84264CF92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2BA0072A-6604-4102-BCFE-D8FB212A4C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D36B9566-2CD4-442E-9FD1-F4FBF10ED6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3FE07F91-44BD-4456-848F-00BF951920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33F37D52-1801-45BB-B5BA-85E88AB87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8DD53B3E-EF7F-425E-96EA-7E3F75514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8C0A655E-799D-451C-B63C-F4020E0D0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34254099-5A1D-407B-992A-897F3826F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E8B6D9E3-E438-4A8F-95D5-6867D07B5C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8245CE44-D8F7-478B-A989-A791E628FD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B30F0AC7-32A2-43A4-8044-48DABD4F1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35DDCA3F-2AF4-4818-918B-6DD45592410F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1F4DDB20-C3BB-44ED-AC71-6DBA0A714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52195E31-FF57-4FA4-8807-EFC5D5982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72039AD3-14E3-47F9-9CFE-2D8C3C91FF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37487E88-9B07-4D75-9F2F-AABD55B4C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16854C1-559E-47D4-B380-80E506CC0C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E49A28FB-A83A-4111-A560-9AB140BF5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09CCCA65-0DD9-4275-91DD-BF71E731F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2EC05AC8-B627-421D-8D90-BA2436A41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1647EC3-D311-4314-91CE-FF39CF3721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9E3EF1D6-10A8-46E7-9FEF-8193676588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87109358-42DF-4055-98F6-2D8118DA83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04986EEC-E00A-4789-938B-B898A2BDC5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A4D787ED-D22C-4B0B-A0AC-3FE7DE362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FF0F4347-73B6-4021-9DA4-C8E59CEBCA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FBA6C3E7-737D-49A6-B8F5-DFD869AF5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D5DA72DF-5B88-4D53-9FEA-950107ADE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2C1D7DCD-48DA-4800-BE6F-7EEFB93D98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A88C8A65-AE96-4C01-BD8D-664364D7D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A9E32B07-03E5-4CF9-8C58-FC21E8FCD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7DEBB052-5851-4A80-8E7A-E1038F8760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4496B53F-2AD0-4CB4-857D-E47D97B64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663C3BC8-7672-4745-B1AF-F3BFB240D9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788EED68-3A53-402D-85A1-D561A40782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B6C2606A-FFF4-45EF-8FD0-58E85773CBE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8F455D1-FF4C-4FBE-8B81-52A8CC201B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E8F0FEC4-4494-48BE-9866-BAE92184E24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EC82F7C2-3CB4-4174-8D08-2DC637D9C2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93E10977-8BF0-4C1E-932E-B3907F516DF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EFD21107-6C53-49A7-8BDD-7B413C9DD66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E3D236E4-D5BF-4E59-A443-1FA7A8CFEA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3836BD56-7CEA-4955-B1E4-AA0F3AD2F71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D57E00E2-3BA6-49E6-ABF6-55959E16D73F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31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5B55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5B55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11CB9A7-09FB-4184-B594-D2C5633DC10A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D7DAB7-1B45-400A-8D0F-A717E9D705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442EDC-DD09-4FBC-B33C-FEDA974657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DC2C748F-63C8-4756-9691-54DF64479F5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013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900C45EC-BB25-4069-85AA-942EEFE1D1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26B67D7E-B1FE-4AC1-87B3-5316220C120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3A46CCDF-CE9F-4B89-ACD1-5FC91FF5D6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4DAE08D-F14E-4F58-873B-FE8BA6A5E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756B8894-FD36-4E1B-918A-8DDFC08B37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A28E03F1-7456-4E2E-B0E7-F8EB590141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59DA3267-6B60-4F9A-A224-E94C13F21E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9388BE82-63DD-4A27-BA76-530A88B2E8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87FE5E66-9580-411C-BAB0-FAD1DAA7F2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272DEDF9-B1AB-484E-B33E-8D6404893F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2D5A78E4-21A7-493C-B1B1-D0C429035F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B622C18B-3364-4BD8-927A-5FAD1550FF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C5771F04-2E19-4BB6-9CFA-4609E6BAE8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4A1E28F4-E5C1-4010-ADEB-2236BA63C3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BEACE3E3-6118-4E11-B41F-8FC310F3B2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2756EAC5-36C3-4BD9-8F5A-2544A4DD8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DD41D534-355C-4775-B278-FB6DF0FE06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CDC7DB81-6268-4CFD-BA27-3F462E617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E87C2593-BE65-4AD2-B1B5-351DCFA24B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CCAE738F-369E-4A36-A938-0D8E4BDA3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6047FC72-16B0-47E6-9154-37858EC22F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EED6958A-F0D6-4A38-8826-921B884AF0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C0C8F131-224E-4F37-8941-F5134A6E7B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CF5C3BE3-93F3-4380-9439-16BC66E1E9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220B0C7A-1DBB-4878-8457-3BDCFDD2E7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C7D9A720-7A56-4567-A74B-D444E9F6B2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319D7A27-25D7-4B48-9A56-80BDB047B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73382095-A363-4ACB-8A97-0E5042110B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A5DA9D52-BC65-4716-B800-F0603EFAB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7751B7E4-377B-4FD8-8D5C-77CEB3B87E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5376225C-18E0-4440-8F89-EEFC83472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6502C74A-92E7-42D1-92B0-74F2FA4DD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F66E1F09-6F93-40EC-9333-A78EE480B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FA41769B-02D0-445C-AB34-80BC5BF16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319C422F-3004-431B-A02F-EFEA57B308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E7A2402A-EA13-43E0-BB8B-96997F9D9E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03715FC3-87B5-404E-BE20-6B0329D42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B4301741-FF0D-4741-BD28-8DFC173A2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CE9828F-1F7A-41EC-87D9-CB1F4D5503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0532387F-C42E-4952-8C74-4D1B4811F1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6665CD8B-A1CB-4499-A383-324F73CC21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578A28D5-A3AC-4174-8A76-CAFD460F32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1ECE70B9-FA78-4CED-AEB9-CB481EA82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EC0E7A1E-9879-4CA5-B880-061C42F789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83BA7F53-6FB0-4CAF-81D1-F50460D5E9DE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2D399B1E-E4E1-40FF-9F01-ACD7CEC09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98981DE0-A758-45D0-A62E-0B2C30D31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B0393F8C-DEE1-42F7-B182-50FA21FF56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B745114-722F-4AD0-B489-7EA994DC3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AFB626F8-78F6-47FA-9E6B-23648BA9D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07FFBF11-E6D9-4095-B046-A19BDFAB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C3B16CB5-0535-481E-A2A2-F69DC238F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6FFF0BAB-6196-41CB-ADAB-73682958EE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A97526E1-8000-404A-B82D-BC1899B56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D3126602-F936-48FE-980B-D39FA22ECC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B855BA3F-4DC5-4274-B678-437B1784B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7184EEEB-84A6-4500-A43F-178EDF6C0D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A15FEA7F-ECBD-4046-862D-B98C1EBFD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0F1EBB0-ADD2-4CA8-8C8B-C4F16DFB90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FEED96C6-1ED2-4215-BA8E-C5F7F55E40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8ABCB56A-4164-4768-8106-23CC9AD00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2144422E-D249-4EC8-A815-2DF654718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86D8539E-ADD2-41AE-A8F4-F5C7B8B10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25E12396-934F-488E-B78F-654B8AA079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C902561C-DA86-42CC-87A7-81B962BB58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64288ED3-2B16-4E44-B7F7-C502D0B69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DF5BFA8E-C1C2-43EE-975A-54884D14B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476CA231-4EEE-4814-812E-7D62C3599A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2677A15E-3740-4D28-AE5C-DE08E22A77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F941DCB5-4249-48DA-923A-9ECC385CBF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C39AA5F7-495B-48D1-B408-17A7658CCC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D4493F2-8BAF-49A6-86C4-D9D592B5E2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DFAE534A-2C45-4C35-A3D9-2241D2E172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1BC2156F-4C15-4D97-998E-6C7064E6D1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F394AE6F-54CB-4041-B08C-976186D01D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6FEFE65F-DC9B-43E5-87E0-D8AF52376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B8D6100F-76E2-4431-B1C8-8C9908864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94818963-94AA-4D04-A87E-D91F397646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6B5DBBA4-9EB9-4216-A9C8-5897F695FA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72980777-9F13-4D19-B641-C0BF3C2B17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868B40BE-75C2-4FE6-A073-24FB9EFC6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A3868E74-D11D-40FC-9AFA-ED6901F676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A7585DFA-ABF6-4182-8133-8A71A9FBE4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E9ED4009-7279-4F55-8C1F-B2AF500BFA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9258B622-F406-4B27-8B15-5CCC89131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A0D1315E-F54A-4B03-AFF7-4BA17A015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30497374-649F-4657-91CA-5BFAAF30BF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139FBB78-1DB1-4A64-BFDE-C86A2EFD25B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B61DC711-6B00-4FFF-842B-1A0E971082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E4CAE7C6-71F8-4B0B-B052-64F4C75713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B390D6B6-016E-48EB-874F-6EADCB83FA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4392E242-1CFE-466E-A923-9386A0665A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23D0FA88-A15D-49B0-94C9-07914E278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72BAB21C-9366-4BFD-8A46-98C7DACCE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7E1649D0-7282-4446-92EE-F3AB57E25B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934C248B-7A8F-4DD5-A48E-7F890DCE9F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D878891A-E666-441D-AE06-B90B155B95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81554F16-B85F-47C9-8ED3-FE6759F2A0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7F61BA16-FAD2-49F4-800E-7FE971C32C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C4554C10-7818-44EC-816A-CA9421CA91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F7B5B8B2-9FA3-4AA2-A11E-9C20B20EC9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90370554-688B-40EE-8B4C-37D374DF1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726CF119-3BAF-4BDB-84B3-8853B7B27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24E16FC4-A465-4970-ADAA-1E8728104E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71D56E9-183F-4D90-95F3-3EE60C76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2A7BF2F0-BEA6-498F-884E-DCEE80D8BC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6BFCBD2F-78F8-4B47-8BD2-7E7A991D5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2D062BD-74CE-42F3-9186-805F97EA03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CC5C6DA3-259B-46D9-AEEB-44591CFA38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5EE54CA-023C-41B4-AA46-B8DAE442AD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F004C879-0D65-444C-8A4C-9E7E8731FF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3840BFD7-04C0-4F76-A025-688BC82E401A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6093B368-371B-4E3D-AEBB-6BBB98B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CBB52FF1-20C7-46EC-BB32-D9717C30FB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3AAA47EB-F263-46D6-A209-74CA34A7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6777D5CA-418E-4AD8-9D47-5A3DAEB420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D2E93533-72B2-4145-BBF3-3C73A845A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9181667B-CDBC-4397-B2E6-22AB3475D9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229731E2-3305-4264-8BB2-E0A2CAEEF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D64D43B3-97BD-4436-B099-5FAD286639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8059EFB-75B3-456C-89CB-64530B686E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42297CF7-D528-4728-973E-1055D68D0B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7601DDD0-663E-47C5-95B3-A977488B5B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93C38CBF-1572-4009-91AE-A884713A00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7E052ECD-67AC-4735-9466-E41E89B21A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3DB69C-3B4A-4584-BA5E-B47E998591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680263A4-CFAD-4802-89FA-A799BC9FC8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D73B8F2C-2E8F-483B-AF17-4F2AA18E94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A1305BDE-8224-47E5-B728-8A541E8FAE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73EBE5E1-9FD9-48B3-95D8-683C611CB9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E93CC10E-5EE1-4C62-BC62-67AD1AF0E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983632B9-2B33-4EC5-ADF3-6DB6653D0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27FE47B8-5F02-4886-8F8B-5FD731D98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B9044370-A579-4479-AA76-74AF5AE48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0DA49942-46C6-4AD6-AF72-4C7947E14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149CA479-67DC-488F-8253-8B84B86F45F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D51C93E5-84D7-44A9-A25D-06720BDC57E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727C9915-E0BF-498A-B7F5-D96F2197B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CAB92EA9-77B5-4AAD-AD01-8192393EBBC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296D70BC-DCFC-4279-87B9-A02F5F0CD7A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7817B136-AD54-42FE-8AF4-EC82586230B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D917C6D9-F3EA-4F66-8D05-885367DBEF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762956BD-817A-4837-8957-155481F6FFD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3137F1F-A5DC-48FB-A702-B335510AEDE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978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FAB8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AB8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E5CF2B8D-C9B9-40F6-A1B0-C77AF2886C3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26935F-7C91-40B4-93F0-7AD32A17A91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63A3F6-CD6B-4B8A-983F-3F9A4F60CC9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CF3A7088-AD54-4CCE-9B51-7B981E42CDB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94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met afbeelding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id="{72B04BBE-2282-4307-BF3F-DCE1F5C92E1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B0857271-29F1-4369-9645-6D675F971A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id="{CD2D3776-E428-45F8-8874-162C8FDEE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id="{C9DA323F-6B94-4C80-991C-E13C11848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id="{F9AD5F23-D03F-4C38-B81D-4183C07F5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id="{0FF7BB9B-0DD9-4956-8610-FE23E7ED0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id="{8BC4C95B-49D2-47FC-8BDC-F60EF36F3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id="{FC4053DF-D7EE-457F-BDE2-B65B432C94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id="{B4ABB23D-9A3A-4CB8-A639-7CB46543E2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id="{3E684C06-ED69-4933-9A1E-8F8CD62D9C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id="{8B3D16F2-CDE1-434B-90B4-2A5ECFE10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id="{79CBF697-6163-49D3-A6A9-139CD49DF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id="{3561ABDF-1376-4267-84C5-56895C4E6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id="{CBDF7A0D-06E7-4920-BD8F-C378B58A4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id="{897C1B1F-8B63-42E5-A899-0E359277B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id="{75E3DEC0-E402-4ABE-922B-52A54B85DF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id="{2F651204-47D7-4C47-97EE-FD4838A12B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id="{9741E9C3-F91F-470D-AB84-114F7D3FC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id="{20944365-78E9-432B-A783-3A290B1861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id="{35BB0142-B66D-438D-A28F-E0F380560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id="{486DBC0B-63A4-4A85-8683-F454AE5B65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id="{C9B3F84C-3B92-47DF-9AD1-F302504A12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id="{F6514602-4545-44FB-B21C-B8794C5407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id="{21BC4D4F-6B71-4D47-BBAB-4932475C3A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id="{39E0BED5-3D12-4D48-A4E8-A50E8038BA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id="{4C05297F-EF4B-42DB-A871-51A40D45F1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id="{80D09D36-9223-4399-BA04-B0588D70E5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id="{5B5A635B-651D-40C4-B54D-E92DA9E77E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id="{4E0AA2F5-EB23-4ABC-A92A-95EBD2942B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id="{EA0EDC2F-623E-4AA1-B6CC-ECD4375F5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id="{AAD1294C-5C96-4679-8161-45CD2FAE84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id="{867C2805-EF20-456E-BF32-9CE272F45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id="{ED3FF7BD-5007-4EEA-BE65-E5AC88640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id="{31189B26-B7A5-48D9-9CAE-BA5FA4A3FA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id="{7B6CCC88-B536-480C-9FEE-45D9D46E6C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id="{9255C394-3A8F-41B4-82F2-0233D63347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id="{ECD5EB2C-E467-49EC-9633-E885FD3BE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id="{D0B1B0EB-D994-4539-84A4-642436038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id="{2D14B4C1-0763-439A-9987-B06524465C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id="{B99D2710-4E17-4773-89EF-29B99ADF67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id="{B33CF346-A994-42CD-8138-E67294233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id="{B26903ED-CC9A-44A9-B972-9665D533AF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id="{C3DF8071-51B3-4B79-98B8-F28E38F4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id="{C65AD63F-9609-48EE-8731-B73C7B7878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B3BAFBCF-9213-434C-B2E9-4BCDED82D8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id="{909DC693-3DE1-4CEA-98D6-28ABE5D72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id="{46DFA1EA-E8FD-4937-BCB0-BB69F358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id="{1DAE2E47-F591-4C45-A554-4714430D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id="{66C78CA7-8D5C-4811-9397-0DFC658665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id="{97E17A85-97BB-4D3C-AD18-CB400E10AD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id="{7CC2CA42-E1F8-4D3D-AC6C-4ED3D2C98E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id="{3D5F20DE-E1E3-4104-B720-E143D262D3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id="{75432762-AC7D-4BAE-B35B-45CB5F2571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id="{CCFD400E-A81B-4E22-A820-21D5F06DA1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id="{FE74ACA4-8114-44AC-914F-B188BD7147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id="{4A3B8A1A-799F-4722-8CF0-BBE19EBCA3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id="{BD5E42A7-C650-4856-AA10-18DD9E77C1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id="{2F87D0E4-5EDA-4DBA-A746-45A5ACCF96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id="{1A877712-C5C5-4F71-B0B6-0EB216BA1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id="{736241F1-D7BA-4C6B-BE94-B653F8400C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id="{66D2C149-96F4-4D8B-94BE-083F72C39E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id="{702AE118-A685-4765-B51F-B085248A6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id="{F170CE21-CF51-4CAA-8EC0-7D983DA8E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id="{5D6A626B-37B6-4435-A381-4E8402553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id="{AECD51FE-9E46-4361-B620-789446875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id="{A7364545-5782-4EE5-901D-7FA52ADB7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id="{9A2D0D88-683F-4F87-A311-22F3B56B0E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id="{1B7046A1-75BF-409B-A42A-1F12EFABEA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id="{5D8DF2AA-31D2-46A1-B745-DABDC0DE2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id="{ECBDEE2E-B6EF-44EC-B44C-5754798B5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id="{DECD424D-D0C7-40C7-A779-6313F41D2C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id="{18C96FC3-FB1B-4376-BE41-23C417277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id="{7F9F1406-9FDA-4994-8681-CC998D5801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id="{A85F467B-CF18-4057-92FF-B5C8E6295A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id="{42F81608-AA65-4EFF-880A-DD383227B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id="{D01867A4-4E48-414D-87D9-B80601766D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id="{F7078459-D452-42F8-8886-1D9091BFC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id="{59721DEB-9CDC-4804-B06B-668E0B19CC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id="{1B9445E0-96D3-4690-9E48-A7CA296E47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id="{BFE375CD-25CE-439A-BF7A-1CA32EC87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id="{983D7F62-68A0-46F7-A677-172776E72B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id="{5F4E630E-0942-4C88-AFA0-2FA26F958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id="{8A68E645-9E42-42DE-A572-69F93DCFC0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id="{30F11CB3-E736-486A-8210-5C5966CA72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id="{F71BE8BB-EF02-4965-9F90-C74972240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id="{92CE6C20-4A50-4F9A-B1FC-9F81327CAD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id="{286F0DD5-EEA4-46CB-AE75-A529507D48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A96BA9F2-C4AB-4BF8-B1B9-552383E3A158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id="{5AB95DCB-50E3-4F25-98AC-DF7B7C737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id="{877256AF-EF8C-4A8B-8474-68135D445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id="{2B0B3CF2-0649-43B9-80C4-DC7FD858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id="{137C0BF8-DF25-458F-B296-DFD37884E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id="{091FC1DE-F664-40BD-B05A-1F48E851C2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id="{E776324A-6374-4FEB-BB44-E63600CC8A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id="{12F11340-4E14-485F-9918-36FA03C690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id="{C8DDF46F-8539-43F8-8179-F2AEB6EED9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id="{4F0091B3-CD62-4AA9-9ADF-0CFE7B95F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id="{6C5D089D-191D-4ACD-9E6B-3BBE21095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id="{8B006879-75C1-4F12-A140-EEB276057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id="{57A4EBE5-663A-49EA-98C4-4A7D4C0727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id="{2BBD3ACC-D763-4A65-AEE1-F4FFA395E9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id="{E300D498-4BF6-45EB-930C-43FB335AA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id="{0C5967F1-FD75-4710-BB09-C330A26E94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id="{716A1A4C-7741-43BF-B2A6-BCA7A288C8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id="{0AAF1279-D7BA-4D65-B7BD-3330FB8002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id="{D923A8C1-7E66-4B7A-B3C1-477B8EBD9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id="{331DBC18-C460-410D-8801-620F2AC30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id="{EAAD4FC8-F9D2-4259-A5DA-D058C6AC36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id="{9E200D88-5161-42BF-9BD6-0A80802A9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id="{54FB8521-BCCA-4A7E-A30A-7477575CAE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id="{CED206E4-7252-4914-8493-44936FC799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8FC8C751-167D-43B4-ABE6-025A1A9E23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id="{9B66117D-8B70-4BAD-8DF9-04C333664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id="{011E6E4F-45CB-4F11-ACA2-A831990F3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id="{65E9F8FE-7F46-4974-BF8C-5E89A8F9CF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id="{F0BC3653-F254-4F19-8136-B0984FCB8B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id="{5110311B-8026-4299-A2AF-2603DA5E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id="{66F12691-A27C-40C4-80F3-E6CCEA35C3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id="{AFA796CE-AEB0-49C7-8C5E-FDD45A375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id="{9E965056-8EA2-49B2-B179-F2F4954AD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id="{DFE5C9E4-1042-4999-9673-A866678347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id="{394C4557-5FEA-4919-A9B8-7543FD8607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id="{034E4846-1C53-45A2-858A-D4436DD78B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id="{C209DDAE-9CA3-4627-9F3E-A9B583353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id="{8CF1E84D-CEC5-4979-A687-5BD13D00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id="{03FBA0A1-CED6-402E-BEC5-EEFC693D9D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id="{0397CF83-BF45-444E-8C71-9CC9CA04F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id="{5FF8ECE7-F242-48CB-BA59-CA9E20AEA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id="{75802716-8733-4BA6-B731-03917EAAB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id="{636DC2F3-9722-4FFA-85C1-782ED0A62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id="{0F4D761F-B562-4FC1-BB29-B5B81F287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id="{CBED50A3-3856-489F-B306-5D8DCA88F6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id="{A835D831-BECB-4027-9B87-B6DE834BBF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id="{C83CF52B-DBC7-4F11-9AC3-B38785E50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id="{62A33E88-1652-418E-BBC5-EC9D87631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id="{AAF96AAA-22BB-4B81-85C6-F1E2EE5B1C0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id="{1DEE001D-7B23-46A1-A1FF-0C19E9FF62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id="{32EC6B04-EFF9-4E6A-B0C0-467AFDEDC7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id="{B28630FC-D421-486A-8640-B657AF8A4BA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id="{0C0BAD5E-20BC-441C-AF97-320768D279F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id="{D293A016-268B-4706-9E15-8A14A024C98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id="{05C9D871-F475-4152-95B4-4FBF22290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id="{49392D38-FD22-4FCF-A380-51771E1E54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29D839D-072D-4F8C-BF1D-7584FB610E4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8684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D0847F7-966E-4D88-BC45-336DFFDBF1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962006-5F7E-4187-A1C3-96472EE5D8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76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ED870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63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D870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17A944DA-5701-4EF6-ADAE-CF36B7A2A44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49A3EF-3173-48D8-B41E-8426E298B8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AD2F83-337C-4C85-A709-0817BE405E5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id="{B19E1449-472B-4D76-B811-7879FC91D7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4163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" name="Group 151">
            <a:extLst>
              <a:ext uri="{FF2B5EF4-FFF2-40B4-BE49-F238E27FC236}">
                <a16:creationId xmlns:a16="http://schemas.microsoft.com/office/drawing/2014/main" id="{1DA6D6F4-72E7-4FF6-BB64-BAF898A5DC1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F690ECC2-DA16-4907-8FD3-47A3937D070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3" name="Line 147">
                <a:extLst>
                  <a:ext uri="{FF2B5EF4-FFF2-40B4-BE49-F238E27FC236}">
                    <a16:creationId xmlns:a16="http://schemas.microsoft.com/office/drawing/2014/main" id="{403A279B-F5F7-4966-8A0E-48C60A40AC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49">
                <a:extLst>
                  <a:ext uri="{FF2B5EF4-FFF2-40B4-BE49-F238E27FC236}">
                    <a16:creationId xmlns:a16="http://schemas.microsoft.com/office/drawing/2014/main" id="{EE09CC2A-C342-4A16-BD83-E473BCC63D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1">
                <a:extLst>
                  <a:ext uri="{FF2B5EF4-FFF2-40B4-BE49-F238E27FC236}">
                    <a16:creationId xmlns:a16="http://schemas.microsoft.com/office/drawing/2014/main" id="{163CFEAC-9337-4A86-A911-BC42DDE4A9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3">
                <a:extLst>
                  <a:ext uri="{FF2B5EF4-FFF2-40B4-BE49-F238E27FC236}">
                    <a16:creationId xmlns:a16="http://schemas.microsoft.com/office/drawing/2014/main" id="{00C27CAE-F1EF-4149-A92F-1E6C00F88F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5">
                <a:extLst>
                  <a:ext uri="{FF2B5EF4-FFF2-40B4-BE49-F238E27FC236}">
                    <a16:creationId xmlns:a16="http://schemas.microsoft.com/office/drawing/2014/main" id="{84CD3822-AB04-412D-97E2-FB23C69AFF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7">
                <a:extLst>
                  <a:ext uri="{FF2B5EF4-FFF2-40B4-BE49-F238E27FC236}">
                    <a16:creationId xmlns:a16="http://schemas.microsoft.com/office/drawing/2014/main" id="{E696F70D-EBDB-494B-892A-84A829249D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9">
                <a:extLst>
                  <a:ext uri="{FF2B5EF4-FFF2-40B4-BE49-F238E27FC236}">
                    <a16:creationId xmlns:a16="http://schemas.microsoft.com/office/drawing/2014/main" id="{A2D1E26F-C6B1-4A08-8FFD-C62DD9D78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1">
                <a:extLst>
                  <a:ext uri="{FF2B5EF4-FFF2-40B4-BE49-F238E27FC236}">
                    <a16:creationId xmlns:a16="http://schemas.microsoft.com/office/drawing/2014/main" id="{F8F033A5-F383-49C5-83CE-055C04377E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3">
                <a:extLst>
                  <a:ext uri="{FF2B5EF4-FFF2-40B4-BE49-F238E27FC236}">
                    <a16:creationId xmlns:a16="http://schemas.microsoft.com/office/drawing/2014/main" id="{C7745B7E-F0AC-470D-B11C-046E4390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5">
                <a:extLst>
                  <a:ext uri="{FF2B5EF4-FFF2-40B4-BE49-F238E27FC236}">
                    <a16:creationId xmlns:a16="http://schemas.microsoft.com/office/drawing/2014/main" id="{ECFD779D-F7DC-43B4-A56C-77EA379582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7">
                <a:extLst>
                  <a:ext uri="{FF2B5EF4-FFF2-40B4-BE49-F238E27FC236}">
                    <a16:creationId xmlns:a16="http://schemas.microsoft.com/office/drawing/2014/main" id="{DEB4FFB0-7D37-468E-87A7-3C73DA21C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9">
                <a:extLst>
                  <a:ext uri="{FF2B5EF4-FFF2-40B4-BE49-F238E27FC236}">
                    <a16:creationId xmlns:a16="http://schemas.microsoft.com/office/drawing/2014/main" id="{11A688C4-4DC9-461D-95F6-4CEAFCE7C6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1">
                <a:extLst>
                  <a:ext uri="{FF2B5EF4-FFF2-40B4-BE49-F238E27FC236}">
                    <a16:creationId xmlns:a16="http://schemas.microsoft.com/office/drawing/2014/main" id="{89CBB97C-3069-48C4-B21D-E5E3E9E6E0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3">
                <a:extLst>
                  <a:ext uri="{FF2B5EF4-FFF2-40B4-BE49-F238E27FC236}">
                    <a16:creationId xmlns:a16="http://schemas.microsoft.com/office/drawing/2014/main" id="{FE31C73F-AF81-4195-AF7C-0A726B0AC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5">
                <a:extLst>
                  <a:ext uri="{FF2B5EF4-FFF2-40B4-BE49-F238E27FC236}">
                    <a16:creationId xmlns:a16="http://schemas.microsoft.com/office/drawing/2014/main" id="{C7965D5A-21EE-48D3-BE55-7686B3A08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7">
                <a:extLst>
                  <a:ext uri="{FF2B5EF4-FFF2-40B4-BE49-F238E27FC236}">
                    <a16:creationId xmlns:a16="http://schemas.microsoft.com/office/drawing/2014/main" id="{242B6FE8-E9B9-457D-9984-80AE9BFFFA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9">
                <a:extLst>
                  <a:ext uri="{FF2B5EF4-FFF2-40B4-BE49-F238E27FC236}">
                    <a16:creationId xmlns:a16="http://schemas.microsoft.com/office/drawing/2014/main" id="{EFF49293-46DD-456A-B61D-8F2D091117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1">
                <a:extLst>
                  <a:ext uri="{FF2B5EF4-FFF2-40B4-BE49-F238E27FC236}">
                    <a16:creationId xmlns:a16="http://schemas.microsoft.com/office/drawing/2014/main" id="{84A2147C-4CBB-4F0B-B80D-0593B85CC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3">
                <a:extLst>
                  <a:ext uri="{FF2B5EF4-FFF2-40B4-BE49-F238E27FC236}">
                    <a16:creationId xmlns:a16="http://schemas.microsoft.com/office/drawing/2014/main" id="{7A2855C1-9D34-4DB0-AD1C-42751BD340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5">
                <a:extLst>
                  <a:ext uri="{FF2B5EF4-FFF2-40B4-BE49-F238E27FC236}">
                    <a16:creationId xmlns:a16="http://schemas.microsoft.com/office/drawing/2014/main" id="{ACB21A99-3DC9-4E53-AD79-9134FB341F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7">
                <a:extLst>
                  <a:ext uri="{FF2B5EF4-FFF2-40B4-BE49-F238E27FC236}">
                    <a16:creationId xmlns:a16="http://schemas.microsoft.com/office/drawing/2014/main" id="{E6A0B2EB-0677-4E7E-8CB5-F87CFF1C54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9">
                <a:extLst>
                  <a:ext uri="{FF2B5EF4-FFF2-40B4-BE49-F238E27FC236}">
                    <a16:creationId xmlns:a16="http://schemas.microsoft.com/office/drawing/2014/main" id="{E93A4ABC-59BC-4F3A-97F3-BF7BCDD344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1">
                <a:extLst>
                  <a:ext uri="{FF2B5EF4-FFF2-40B4-BE49-F238E27FC236}">
                    <a16:creationId xmlns:a16="http://schemas.microsoft.com/office/drawing/2014/main" id="{D0978B7C-3F48-4708-856E-DDF832A5C7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3">
                <a:extLst>
                  <a:ext uri="{FF2B5EF4-FFF2-40B4-BE49-F238E27FC236}">
                    <a16:creationId xmlns:a16="http://schemas.microsoft.com/office/drawing/2014/main" id="{9E4DD63A-2D1A-4936-A732-9370383AE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5">
                <a:extLst>
                  <a:ext uri="{FF2B5EF4-FFF2-40B4-BE49-F238E27FC236}">
                    <a16:creationId xmlns:a16="http://schemas.microsoft.com/office/drawing/2014/main" id="{8861EC63-D08A-4565-B675-5F1386FA4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7">
                <a:extLst>
                  <a:ext uri="{FF2B5EF4-FFF2-40B4-BE49-F238E27FC236}">
                    <a16:creationId xmlns:a16="http://schemas.microsoft.com/office/drawing/2014/main" id="{FA268298-67FF-415C-ADAD-324685DF8B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9">
                <a:extLst>
                  <a:ext uri="{FF2B5EF4-FFF2-40B4-BE49-F238E27FC236}">
                    <a16:creationId xmlns:a16="http://schemas.microsoft.com/office/drawing/2014/main" id="{B251CCAA-AB61-4B18-A48E-65753E65B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1">
                <a:extLst>
                  <a:ext uri="{FF2B5EF4-FFF2-40B4-BE49-F238E27FC236}">
                    <a16:creationId xmlns:a16="http://schemas.microsoft.com/office/drawing/2014/main" id="{59DCBB01-758C-4E78-B0EC-8F9137CEF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3">
                <a:extLst>
                  <a:ext uri="{FF2B5EF4-FFF2-40B4-BE49-F238E27FC236}">
                    <a16:creationId xmlns:a16="http://schemas.microsoft.com/office/drawing/2014/main" id="{CD2496AA-9125-48FE-B427-F479519732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5">
                <a:extLst>
                  <a:ext uri="{FF2B5EF4-FFF2-40B4-BE49-F238E27FC236}">
                    <a16:creationId xmlns:a16="http://schemas.microsoft.com/office/drawing/2014/main" id="{303B8693-B866-485E-B2BC-6E6F82285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7">
                <a:extLst>
                  <a:ext uri="{FF2B5EF4-FFF2-40B4-BE49-F238E27FC236}">
                    <a16:creationId xmlns:a16="http://schemas.microsoft.com/office/drawing/2014/main" id="{E91D1D88-915A-4F19-81FC-6459138CA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9">
                <a:extLst>
                  <a:ext uri="{FF2B5EF4-FFF2-40B4-BE49-F238E27FC236}">
                    <a16:creationId xmlns:a16="http://schemas.microsoft.com/office/drawing/2014/main" id="{DAE5D869-6CF3-4BEE-AD35-4724C402C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1">
                <a:extLst>
                  <a:ext uri="{FF2B5EF4-FFF2-40B4-BE49-F238E27FC236}">
                    <a16:creationId xmlns:a16="http://schemas.microsoft.com/office/drawing/2014/main" id="{39FC7362-F9D1-4109-AB73-7C1FF95170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13">
                <a:extLst>
                  <a:ext uri="{FF2B5EF4-FFF2-40B4-BE49-F238E27FC236}">
                    <a16:creationId xmlns:a16="http://schemas.microsoft.com/office/drawing/2014/main" id="{E485E50A-A41F-444B-A6B1-558F60D27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5">
                <a:extLst>
                  <a:ext uri="{FF2B5EF4-FFF2-40B4-BE49-F238E27FC236}">
                    <a16:creationId xmlns:a16="http://schemas.microsoft.com/office/drawing/2014/main" id="{A6FAF5D9-B7E3-4899-99F2-73265FE5D9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7">
                <a:extLst>
                  <a:ext uri="{FF2B5EF4-FFF2-40B4-BE49-F238E27FC236}">
                    <a16:creationId xmlns:a16="http://schemas.microsoft.com/office/drawing/2014/main" id="{1538E3D5-170D-4637-9158-32E8BC5A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9">
                <a:extLst>
                  <a:ext uri="{FF2B5EF4-FFF2-40B4-BE49-F238E27FC236}">
                    <a16:creationId xmlns:a16="http://schemas.microsoft.com/office/drawing/2014/main" id="{9E3DF5D4-93B3-4B01-BCE2-A56C50B0C2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1">
                <a:extLst>
                  <a:ext uri="{FF2B5EF4-FFF2-40B4-BE49-F238E27FC236}">
                    <a16:creationId xmlns:a16="http://schemas.microsoft.com/office/drawing/2014/main" id="{C5DB543E-E973-47FB-9D74-E7A51832F6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23">
                <a:extLst>
                  <a:ext uri="{FF2B5EF4-FFF2-40B4-BE49-F238E27FC236}">
                    <a16:creationId xmlns:a16="http://schemas.microsoft.com/office/drawing/2014/main" id="{C9E91B3A-6D46-48BC-868E-A954A2896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5">
                <a:extLst>
                  <a:ext uri="{FF2B5EF4-FFF2-40B4-BE49-F238E27FC236}">
                    <a16:creationId xmlns:a16="http://schemas.microsoft.com/office/drawing/2014/main" id="{D810306F-F308-4273-BD9B-9B25ABB38A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7">
                <a:extLst>
                  <a:ext uri="{FF2B5EF4-FFF2-40B4-BE49-F238E27FC236}">
                    <a16:creationId xmlns:a16="http://schemas.microsoft.com/office/drawing/2014/main" id="{B4363285-B9D6-48F0-8AB6-0A9019512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9">
                <a:extLst>
                  <a:ext uri="{FF2B5EF4-FFF2-40B4-BE49-F238E27FC236}">
                    <a16:creationId xmlns:a16="http://schemas.microsoft.com/office/drawing/2014/main" id="{9DCA01A1-20C3-462B-AA2B-B7495989F7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8ACEB98E-05C9-496C-840B-5179047540C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1" name="Line 146">
                <a:extLst>
                  <a:ext uri="{FF2B5EF4-FFF2-40B4-BE49-F238E27FC236}">
                    <a16:creationId xmlns:a16="http://schemas.microsoft.com/office/drawing/2014/main" id="{8C9ED72D-ED39-4216-BC2C-F2AAE4AC3A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48">
                <a:extLst>
                  <a:ext uri="{FF2B5EF4-FFF2-40B4-BE49-F238E27FC236}">
                    <a16:creationId xmlns:a16="http://schemas.microsoft.com/office/drawing/2014/main" id="{1F6CABA4-7EAD-4155-9668-2A9F904C91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0">
                <a:extLst>
                  <a:ext uri="{FF2B5EF4-FFF2-40B4-BE49-F238E27FC236}">
                    <a16:creationId xmlns:a16="http://schemas.microsoft.com/office/drawing/2014/main" id="{539BA179-E325-4D32-9244-FEDAE5EF3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2">
                <a:extLst>
                  <a:ext uri="{FF2B5EF4-FFF2-40B4-BE49-F238E27FC236}">
                    <a16:creationId xmlns:a16="http://schemas.microsoft.com/office/drawing/2014/main" id="{52AB7409-654A-4139-96DA-DD299C4630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4">
                <a:extLst>
                  <a:ext uri="{FF2B5EF4-FFF2-40B4-BE49-F238E27FC236}">
                    <a16:creationId xmlns:a16="http://schemas.microsoft.com/office/drawing/2014/main" id="{CFFAB490-04FC-4236-AFAA-63BA8EBD5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6">
                <a:extLst>
                  <a:ext uri="{FF2B5EF4-FFF2-40B4-BE49-F238E27FC236}">
                    <a16:creationId xmlns:a16="http://schemas.microsoft.com/office/drawing/2014/main" id="{95768BAD-2FE5-438A-84D3-2E455BBB77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8">
                <a:extLst>
                  <a:ext uri="{FF2B5EF4-FFF2-40B4-BE49-F238E27FC236}">
                    <a16:creationId xmlns:a16="http://schemas.microsoft.com/office/drawing/2014/main" id="{137E8C2D-9D02-4004-8A62-E4712FFC42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0">
                <a:extLst>
                  <a:ext uri="{FF2B5EF4-FFF2-40B4-BE49-F238E27FC236}">
                    <a16:creationId xmlns:a16="http://schemas.microsoft.com/office/drawing/2014/main" id="{A7F133CE-D017-44BB-9047-CA51B73BE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2">
                <a:extLst>
                  <a:ext uri="{FF2B5EF4-FFF2-40B4-BE49-F238E27FC236}">
                    <a16:creationId xmlns:a16="http://schemas.microsoft.com/office/drawing/2014/main" id="{2FAE6EF1-6428-4262-8F1B-D36F03434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4">
                <a:extLst>
                  <a:ext uri="{FF2B5EF4-FFF2-40B4-BE49-F238E27FC236}">
                    <a16:creationId xmlns:a16="http://schemas.microsoft.com/office/drawing/2014/main" id="{46A28D31-281B-49D6-8067-65C805BF9F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6">
                <a:extLst>
                  <a:ext uri="{FF2B5EF4-FFF2-40B4-BE49-F238E27FC236}">
                    <a16:creationId xmlns:a16="http://schemas.microsoft.com/office/drawing/2014/main" id="{AEFE4587-B014-439B-8375-BB79CBE63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8">
                <a:extLst>
                  <a:ext uri="{FF2B5EF4-FFF2-40B4-BE49-F238E27FC236}">
                    <a16:creationId xmlns:a16="http://schemas.microsoft.com/office/drawing/2014/main" id="{14424A90-D448-45A4-A04E-31BA9D6F9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0">
                <a:extLst>
                  <a:ext uri="{FF2B5EF4-FFF2-40B4-BE49-F238E27FC236}">
                    <a16:creationId xmlns:a16="http://schemas.microsoft.com/office/drawing/2014/main" id="{D5C02E2E-B570-438D-B5C1-C0BD9E915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2">
                <a:extLst>
                  <a:ext uri="{FF2B5EF4-FFF2-40B4-BE49-F238E27FC236}">
                    <a16:creationId xmlns:a16="http://schemas.microsoft.com/office/drawing/2014/main" id="{7BCA4C3C-0088-4DF9-A175-4580924606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4">
                <a:extLst>
                  <a:ext uri="{FF2B5EF4-FFF2-40B4-BE49-F238E27FC236}">
                    <a16:creationId xmlns:a16="http://schemas.microsoft.com/office/drawing/2014/main" id="{2F627A28-8715-431E-8FC7-ECEACB4A70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6">
                <a:extLst>
                  <a:ext uri="{FF2B5EF4-FFF2-40B4-BE49-F238E27FC236}">
                    <a16:creationId xmlns:a16="http://schemas.microsoft.com/office/drawing/2014/main" id="{E0B26617-CC49-4D9C-86D6-3CF1087C39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8">
                <a:extLst>
                  <a:ext uri="{FF2B5EF4-FFF2-40B4-BE49-F238E27FC236}">
                    <a16:creationId xmlns:a16="http://schemas.microsoft.com/office/drawing/2014/main" id="{A9FFB783-72F3-40B8-AAA6-F4B963B89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0">
                <a:extLst>
                  <a:ext uri="{FF2B5EF4-FFF2-40B4-BE49-F238E27FC236}">
                    <a16:creationId xmlns:a16="http://schemas.microsoft.com/office/drawing/2014/main" id="{5B95C9A7-8075-4C94-B8C9-EFDCC8CF3B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2">
                <a:extLst>
                  <a:ext uri="{FF2B5EF4-FFF2-40B4-BE49-F238E27FC236}">
                    <a16:creationId xmlns:a16="http://schemas.microsoft.com/office/drawing/2014/main" id="{0F8938B2-A890-4E6F-AB99-9ED0F625B5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4">
                <a:extLst>
                  <a:ext uri="{FF2B5EF4-FFF2-40B4-BE49-F238E27FC236}">
                    <a16:creationId xmlns:a16="http://schemas.microsoft.com/office/drawing/2014/main" id="{1219356A-E04C-4F05-A815-B339ED9203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6">
                <a:extLst>
                  <a:ext uri="{FF2B5EF4-FFF2-40B4-BE49-F238E27FC236}">
                    <a16:creationId xmlns:a16="http://schemas.microsoft.com/office/drawing/2014/main" id="{45FD7F43-71D7-4D84-8F0A-3A1CDF165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8">
                <a:extLst>
                  <a:ext uri="{FF2B5EF4-FFF2-40B4-BE49-F238E27FC236}">
                    <a16:creationId xmlns:a16="http://schemas.microsoft.com/office/drawing/2014/main" id="{A6805CE8-D8C3-4EBB-B6F0-8ED34E8FC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0">
                <a:extLst>
                  <a:ext uri="{FF2B5EF4-FFF2-40B4-BE49-F238E27FC236}">
                    <a16:creationId xmlns:a16="http://schemas.microsoft.com/office/drawing/2014/main" id="{EE75EF27-7B29-496A-B07A-08416A500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2">
                <a:extLst>
                  <a:ext uri="{FF2B5EF4-FFF2-40B4-BE49-F238E27FC236}">
                    <a16:creationId xmlns:a16="http://schemas.microsoft.com/office/drawing/2014/main" id="{73D63916-66E5-4C50-924F-519B3990BD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4">
                <a:extLst>
                  <a:ext uri="{FF2B5EF4-FFF2-40B4-BE49-F238E27FC236}">
                    <a16:creationId xmlns:a16="http://schemas.microsoft.com/office/drawing/2014/main" id="{B74A85C1-AFB6-437E-8FBD-EBE04E8C8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6">
                <a:extLst>
                  <a:ext uri="{FF2B5EF4-FFF2-40B4-BE49-F238E27FC236}">
                    <a16:creationId xmlns:a16="http://schemas.microsoft.com/office/drawing/2014/main" id="{42417D84-D7DC-463D-9CB7-5497BD397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8">
                <a:extLst>
                  <a:ext uri="{FF2B5EF4-FFF2-40B4-BE49-F238E27FC236}">
                    <a16:creationId xmlns:a16="http://schemas.microsoft.com/office/drawing/2014/main" id="{E7D7B2FA-0F64-452E-875F-A26786BDE7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0">
                <a:extLst>
                  <a:ext uri="{FF2B5EF4-FFF2-40B4-BE49-F238E27FC236}">
                    <a16:creationId xmlns:a16="http://schemas.microsoft.com/office/drawing/2014/main" id="{69CF3A72-C7EA-4C50-9022-77DC5D107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2">
                <a:extLst>
                  <a:ext uri="{FF2B5EF4-FFF2-40B4-BE49-F238E27FC236}">
                    <a16:creationId xmlns:a16="http://schemas.microsoft.com/office/drawing/2014/main" id="{FDB2D80F-7ACE-465A-8C0C-98511F4CEF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4">
                <a:extLst>
                  <a:ext uri="{FF2B5EF4-FFF2-40B4-BE49-F238E27FC236}">
                    <a16:creationId xmlns:a16="http://schemas.microsoft.com/office/drawing/2014/main" id="{9C71D0EF-E7AD-448E-B357-510DEA9B4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6">
                <a:extLst>
                  <a:ext uri="{FF2B5EF4-FFF2-40B4-BE49-F238E27FC236}">
                    <a16:creationId xmlns:a16="http://schemas.microsoft.com/office/drawing/2014/main" id="{28A3314B-9796-478C-8F32-13206289A1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8">
                <a:extLst>
                  <a:ext uri="{FF2B5EF4-FFF2-40B4-BE49-F238E27FC236}">
                    <a16:creationId xmlns:a16="http://schemas.microsoft.com/office/drawing/2014/main" id="{BCB800A5-FE2B-44EC-93FF-FCEE835670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0">
                <a:extLst>
                  <a:ext uri="{FF2B5EF4-FFF2-40B4-BE49-F238E27FC236}">
                    <a16:creationId xmlns:a16="http://schemas.microsoft.com/office/drawing/2014/main" id="{1396A140-EA6E-4D84-BBF7-5A4F7C994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2">
                <a:extLst>
                  <a:ext uri="{FF2B5EF4-FFF2-40B4-BE49-F238E27FC236}">
                    <a16:creationId xmlns:a16="http://schemas.microsoft.com/office/drawing/2014/main" id="{C9023D81-CE6A-4D0F-BA9B-E6C83E138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4">
                <a:extLst>
                  <a:ext uri="{FF2B5EF4-FFF2-40B4-BE49-F238E27FC236}">
                    <a16:creationId xmlns:a16="http://schemas.microsoft.com/office/drawing/2014/main" id="{AFD63079-0454-45AD-8143-CB0480DA00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6">
                <a:extLst>
                  <a:ext uri="{FF2B5EF4-FFF2-40B4-BE49-F238E27FC236}">
                    <a16:creationId xmlns:a16="http://schemas.microsoft.com/office/drawing/2014/main" id="{E45AD2F5-DF1B-4D49-ABE4-458386A03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8">
                <a:extLst>
                  <a:ext uri="{FF2B5EF4-FFF2-40B4-BE49-F238E27FC236}">
                    <a16:creationId xmlns:a16="http://schemas.microsoft.com/office/drawing/2014/main" id="{8E2F63EE-0A5B-4666-B9F6-9AB574C4DC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0">
                <a:extLst>
                  <a:ext uri="{FF2B5EF4-FFF2-40B4-BE49-F238E27FC236}">
                    <a16:creationId xmlns:a16="http://schemas.microsoft.com/office/drawing/2014/main" id="{65BA15B2-E7CC-4331-8530-D11777DA79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2">
                <a:extLst>
                  <a:ext uri="{FF2B5EF4-FFF2-40B4-BE49-F238E27FC236}">
                    <a16:creationId xmlns:a16="http://schemas.microsoft.com/office/drawing/2014/main" id="{C4701F59-DB92-4414-840A-E790DF7A2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4">
                <a:extLst>
                  <a:ext uri="{FF2B5EF4-FFF2-40B4-BE49-F238E27FC236}">
                    <a16:creationId xmlns:a16="http://schemas.microsoft.com/office/drawing/2014/main" id="{AE2BDA3C-86FB-4229-8531-D7E05826E1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6">
                <a:extLst>
                  <a:ext uri="{FF2B5EF4-FFF2-40B4-BE49-F238E27FC236}">
                    <a16:creationId xmlns:a16="http://schemas.microsoft.com/office/drawing/2014/main" id="{F40E7AFF-5B76-489A-9179-329947BDB2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8">
                <a:extLst>
                  <a:ext uri="{FF2B5EF4-FFF2-40B4-BE49-F238E27FC236}">
                    <a16:creationId xmlns:a16="http://schemas.microsoft.com/office/drawing/2014/main" id="{9326D0F1-2DDB-4712-854A-1D951E403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F379B94D-E842-4950-AE29-D0C83F096C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8" name="Line 230">
                <a:extLst>
                  <a:ext uri="{FF2B5EF4-FFF2-40B4-BE49-F238E27FC236}">
                    <a16:creationId xmlns:a16="http://schemas.microsoft.com/office/drawing/2014/main" id="{9FC8CA52-2207-43A9-A660-8C4EEC714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2">
                <a:extLst>
                  <a:ext uri="{FF2B5EF4-FFF2-40B4-BE49-F238E27FC236}">
                    <a16:creationId xmlns:a16="http://schemas.microsoft.com/office/drawing/2014/main" id="{84AFC050-1F7A-43AB-9E07-5193A7C879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34">
                <a:extLst>
                  <a:ext uri="{FF2B5EF4-FFF2-40B4-BE49-F238E27FC236}">
                    <a16:creationId xmlns:a16="http://schemas.microsoft.com/office/drawing/2014/main" id="{080645BC-A2EC-4FFC-9FDA-84379E923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6">
                <a:extLst>
                  <a:ext uri="{FF2B5EF4-FFF2-40B4-BE49-F238E27FC236}">
                    <a16:creationId xmlns:a16="http://schemas.microsoft.com/office/drawing/2014/main" id="{0A1D95B6-B1CF-4D42-9893-C896C4F806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8">
                <a:extLst>
                  <a:ext uri="{FF2B5EF4-FFF2-40B4-BE49-F238E27FC236}">
                    <a16:creationId xmlns:a16="http://schemas.microsoft.com/office/drawing/2014/main" id="{07B07819-1CE2-479F-87E0-7987598F02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40">
                <a:extLst>
                  <a:ext uri="{FF2B5EF4-FFF2-40B4-BE49-F238E27FC236}">
                    <a16:creationId xmlns:a16="http://schemas.microsoft.com/office/drawing/2014/main" id="{E01CB9A8-BC78-49EC-83B6-1797FD6774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44">
                <a:extLst>
                  <a:ext uri="{FF2B5EF4-FFF2-40B4-BE49-F238E27FC236}">
                    <a16:creationId xmlns:a16="http://schemas.microsoft.com/office/drawing/2014/main" id="{ED8EAE1C-DF5F-4CC1-A989-4CC36C7DE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6">
                <a:extLst>
                  <a:ext uri="{FF2B5EF4-FFF2-40B4-BE49-F238E27FC236}">
                    <a16:creationId xmlns:a16="http://schemas.microsoft.com/office/drawing/2014/main" id="{4B337257-46A0-41DE-9104-64411243F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0">
                <a:extLst>
                  <a:ext uri="{FF2B5EF4-FFF2-40B4-BE49-F238E27FC236}">
                    <a16:creationId xmlns:a16="http://schemas.microsoft.com/office/drawing/2014/main" id="{728201AE-8079-4E27-82AF-BC0856F0CA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2">
                <a:extLst>
                  <a:ext uri="{FF2B5EF4-FFF2-40B4-BE49-F238E27FC236}">
                    <a16:creationId xmlns:a16="http://schemas.microsoft.com/office/drawing/2014/main" id="{63FE6B2B-E194-4546-9FA9-04408E7CF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4">
                <a:extLst>
                  <a:ext uri="{FF2B5EF4-FFF2-40B4-BE49-F238E27FC236}">
                    <a16:creationId xmlns:a16="http://schemas.microsoft.com/office/drawing/2014/main" id="{572F8EC1-6CCC-4193-B74B-B6988C622B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6">
                <a:extLst>
                  <a:ext uri="{FF2B5EF4-FFF2-40B4-BE49-F238E27FC236}">
                    <a16:creationId xmlns:a16="http://schemas.microsoft.com/office/drawing/2014/main" id="{07504F20-E8DB-4313-93AB-D9110DB55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8">
                <a:extLst>
                  <a:ext uri="{FF2B5EF4-FFF2-40B4-BE49-F238E27FC236}">
                    <a16:creationId xmlns:a16="http://schemas.microsoft.com/office/drawing/2014/main" id="{A451669A-8603-4AE9-BC0E-B61E23C38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0">
                <a:extLst>
                  <a:ext uri="{FF2B5EF4-FFF2-40B4-BE49-F238E27FC236}">
                    <a16:creationId xmlns:a16="http://schemas.microsoft.com/office/drawing/2014/main" id="{CC17884A-065C-4F5B-9F53-2AE713A8F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2">
                <a:extLst>
                  <a:ext uri="{FF2B5EF4-FFF2-40B4-BE49-F238E27FC236}">
                    <a16:creationId xmlns:a16="http://schemas.microsoft.com/office/drawing/2014/main" id="{E59BD134-7949-4511-9F11-876945E7C6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4">
                <a:extLst>
                  <a:ext uri="{FF2B5EF4-FFF2-40B4-BE49-F238E27FC236}">
                    <a16:creationId xmlns:a16="http://schemas.microsoft.com/office/drawing/2014/main" id="{CC353439-FA7A-42FC-9CFC-24F150267B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6">
                <a:extLst>
                  <a:ext uri="{FF2B5EF4-FFF2-40B4-BE49-F238E27FC236}">
                    <a16:creationId xmlns:a16="http://schemas.microsoft.com/office/drawing/2014/main" id="{988E2A33-0F60-4E3C-9A1E-53C3D2634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8">
                <a:extLst>
                  <a:ext uri="{FF2B5EF4-FFF2-40B4-BE49-F238E27FC236}">
                    <a16:creationId xmlns:a16="http://schemas.microsoft.com/office/drawing/2014/main" id="{2890933E-74E1-4E61-ACFA-E50C1D41D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0">
                <a:extLst>
                  <a:ext uri="{FF2B5EF4-FFF2-40B4-BE49-F238E27FC236}">
                    <a16:creationId xmlns:a16="http://schemas.microsoft.com/office/drawing/2014/main" id="{A183AC6B-5284-4507-977D-20F0BC3C22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2">
                <a:extLst>
                  <a:ext uri="{FF2B5EF4-FFF2-40B4-BE49-F238E27FC236}">
                    <a16:creationId xmlns:a16="http://schemas.microsoft.com/office/drawing/2014/main" id="{84C7B727-1B28-4CB3-9CF7-CD3A35CE25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4">
                <a:extLst>
                  <a:ext uri="{FF2B5EF4-FFF2-40B4-BE49-F238E27FC236}">
                    <a16:creationId xmlns:a16="http://schemas.microsoft.com/office/drawing/2014/main" id="{599472D4-4F90-4287-9122-6683817288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6">
                <a:extLst>
                  <a:ext uri="{FF2B5EF4-FFF2-40B4-BE49-F238E27FC236}">
                    <a16:creationId xmlns:a16="http://schemas.microsoft.com/office/drawing/2014/main" id="{CBFE3A84-2974-4F46-B3E9-FEE060D08B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8">
                <a:extLst>
                  <a:ext uri="{FF2B5EF4-FFF2-40B4-BE49-F238E27FC236}">
                    <a16:creationId xmlns:a16="http://schemas.microsoft.com/office/drawing/2014/main" id="{7643094F-6E69-44D7-80A9-352BA8077B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AD2C1E03-044A-479F-A0C7-9EBE6B059B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5" name="Line 231">
                <a:extLst>
                  <a:ext uri="{FF2B5EF4-FFF2-40B4-BE49-F238E27FC236}">
                    <a16:creationId xmlns:a16="http://schemas.microsoft.com/office/drawing/2014/main" id="{AC3E4F89-984A-4D45-9373-D5799EB791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3">
                <a:extLst>
                  <a:ext uri="{FF2B5EF4-FFF2-40B4-BE49-F238E27FC236}">
                    <a16:creationId xmlns:a16="http://schemas.microsoft.com/office/drawing/2014/main" id="{E9635A05-E936-4C39-A710-AC25848242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35">
                <a:extLst>
                  <a:ext uri="{FF2B5EF4-FFF2-40B4-BE49-F238E27FC236}">
                    <a16:creationId xmlns:a16="http://schemas.microsoft.com/office/drawing/2014/main" id="{3F1FC93C-907C-4D22-9B68-CD258D7C0D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7">
                <a:extLst>
                  <a:ext uri="{FF2B5EF4-FFF2-40B4-BE49-F238E27FC236}">
                    <a16:creationId xmlns:a16="http://schemas.microsoft.com/office/drawing/2014/main" id="{80A30FBB-C973-4DEC-B040-63246AA4B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9">
                <a:extLst>
                  <a:ext uri="{FF2B5EF4-FFF2-40B4-BE49-F238E27FC236}">
                    <a16:creationId xmlns:a16="http://schemas.microsoft.com/office/drawing/2014/main" id="{289C3220-7907-4634-BABC-85F9A605BE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41">
                <a:extLst>
                  <a:ext uri="{FF2B5EF4-FFF2-40B4-BE49-F238E27FC236}">
                    <a16:creationId xmlns:a16="http://schemas.microsoft.com/office/drawing/2014/main" id="{44546AA1-8F3F-424E-8167-07CA263165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45">
                <a:extLst>
                  <a:ext uri="{FF2B5EF4-FFF2-40B4-BE49-F238E27FC236}">
                    <a16:creationId xmlns:a16="http://schemas.microsoft.com/office/drawing/2014/main" id="{19CEC97F-B125-4E35-9D49-A747045CE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7">
                <a:extLst>
                  <a:ext uri="{FF2B5EF4-FFF2-40B4-BE49-F238E27FC236}">
                    <a16:creationId xmlns:a16="http://schemas.microsoft.com/office/drawing/2014/main" id="{6F54B025-70DA-489D-8AE5-7E4318B030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1">
                <a:extLst>
                  <a:ext uri="{FF2B5EF4-FFF2-40B4-BE49-F238E27FC236}">
                    <a16:creationId xmlns:a16="http://schemas.microsoft.com/office/drawing/2014/main" id="{9A597708-7066-4F27-BBCD-E6D0A4B4D3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3">
                <a:extLst>
                  <a:ext uri="{FF2B5EF4-FFF2-40B4-BE49-F238E27FC236}">
                    <a16:creationId xmlns:a16="http://schemas.microsoft.com/office/drawing/2014/main" id="{63911BA3-21F7-47F2-89BD-7108A3EF5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5">
                <a:extLst>
                  <a:ext uri="{FF2B5EF4-FFF2-40B4-BE49-F238E27FC236}">
                    <a16:creationId xmlns:a16="http://schemas.microsoft.com/office/drawing/2014/main" id="{4590588E-2B7C-4FD0-8287-C6EC6215B0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7">
                <a:extLst>
                  <a:ext uri="{FF2B5EF4-FFF2-40B4-BE49-F238E27FC236}">
                    <a16:creationId xmlns:a16="http://schemas.microsoft.com/office/drawing/2014/main" id="{DE4D33CF-9DC5-41B3-B3CD-B56DC86AE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9">
                <a:extLst>
                  <a:ext uri="{FF2B5EF4-FFF2-40B4-BE49-F238E27FC236}">
                    <a16:creationId xmlns:a16="http://schemas.microsoft.com/office/drawing/2014/main" id="{D2DEE4EA-BF60-456C-B32C-5DADA7E7E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1">
                <a:extLst>
                  <a:ext uri="{FF2B5EF4-FFF2-40B4-BE49-F238E27FC236}">
                    <a16:creationId xmlns:a16="http://schemas.microsoft.com/office/drawing/2014/main" id="{A24F014B-5FE5-46A0-88E2-562F175D1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3">
                <a:extLst>
                  <a:ext uri="{FF2B5EF4-FFF2-40B4-BE49-F238E27FC236}">
                    <a16:creationId xmlns:a16="http://schemas.microsoft.com/office/drawing/2014/main" id="{EA3D08A3-A0B6-48E6-A9BA-BCFFD5E628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5">
                <a:extLst>
                  <a:ext uri="{FF2B5EF4-FFF2-40B4-BE49-F238E27FC236}">
                    <a16:creationId xmlns:a16="http://schemas.microsoft.com/office/drawing/2014/main" id="{A6258AF6-6C8E-47EB-AEEE-4E9462901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7">
                <a:extLst>
                  <a:ext uri="{FF2B5EF4-FFF2-40B4-BE49-F238E27FC236}">
                    <a16:creationId xmlns:a16="http://schemas.microsoft.com/office/drawing/2014/main" id="{1603419F-F7FF-4BD4-902A-15D0B90D17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9">
                <a:extLst>
                  <a:ext uri="{FF2B5EF4-FFF2-40B4-BE49-F238E27FC236}">
                    <a16:creationId xmlns:a16="http://schemas.microsoft.com/office/drawing/2014/main" id="{8D174483-4524-4C3A-9C90-815B4D3823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1">
                <a:extLst>
                  <a:ext uri="{FF2B5EF4-FFF2-40B4-BE49-F238E27FC236}">
                    <a16:creationId xmlns:a16="http://schemas.microsoft.com/office/drawing/2014/main" id="{5C845542-BAA1-4094-97CE-3ECF00A82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3">
                <a:extLst>
                  <a:ext uri="{FF2B5EF4-FFF2-40B4-BE49-F238E27FC236}">
                    <a16:creationId xmlns:a16="http://schemas.microsoft.com/office/drawing/2014/main" id="{837CDACB-1129-4638-A409-83C68E67D4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5">
                <a:extLst>
                  <a:ext uri="{FF2B5EF4-FFF2-40B4-BE49-F238E27FC236}">
                    <a16:creationId xmlns:a16="http://schemas.microsoft.com/office/drawing/2014/main" id="{3E45C108-6051-4B10-B247-B2B82217F8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7">
                <a:extLst>
                  <a:ext uri="{FF2B5EF4-FFF2-40B4-BE49-F238E27FC236}">
                    <a16:creationId xmlns:a16="http://schemas.microsoft.com/office/drawing/2014/main" id="{DCCC27D0-8E6B-4265-A273-0043725FF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9">
                <a:extLst>
                  <a:ext uri="{FF2B5EF4-FFF2-40B4-BE49-F238E27FC236}">
                    <a16:creationId xmlns:a16="http://schemas.microsoft.com/office/drawing/2014/main" id="{25A0156D-8682-4E48-90DF-26147145C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7" name="Line 256">
              <a:extLst>
                <a:ext uri="{FF2B5EF4-FFF2-40B4-BE49-F238E27FC236}">
                  <a16:creationId xmlns:a16="http://schemas.microsoft.com/office/drawing/2014/main" id="{7C4BA5C2-90BC-46EB-BF58-F7355EB70C0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147">
              <a:extLst>
                <a:ext uri="{FF2B5EF4-FFF2-40B4-BE49-F238E27FC236}">
                  <a16:creationId xmlns:a16="http://schemas.microsoft.com/office/drawing/2014/main" id="{6B1FD4A3-4419-4B2A-B889-6E5071BEF2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146">
              <a:extLst>
                <a:ext uri="{FF2B5EF4-FFF2-40B4-BE49-F238E27FC236}">
                  <a16:creationId xmlns:a16="http://schemas.microsoft.com/office/drawing/2014/main" id="{8700DDE0-436B-40A7-B511-D80DF711CE2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34">
              <a:extLst>
                <a:ext uri="{FF2B5EF4-FFF2-40B4-BE49-F238E27FC236}">
                  <a16:creationId xmlns:a16="http://schemas.microsoft.com/office/drawing/2014/main" id="{68B55F5E-81EB-4E60-ACCF-176DFE426A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04">
              <a:extLst>
                <a:ext uri="{FF2B5EF4-FFF2-40B4-BE49-F238E27FC236}">
                  <a16:creationId xmlns:a16="http://schemas.microsoft.com/office/drawing/2014/main" id="{E6F1779C-E607-4373-AB8D-BF6B1B2B53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5">
              <a:extLst>
                <a:ext uri="{FF2B5EF4-FFF2-40B4-BE49-F238E27FC236}">
                  <a16:creationId xmlns:a16="http://schemas.microsoft.com/office/drawing/2014/main" id="{78AD6ABD-4134-4D08-9655-A53CB895FD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5">
              <a:extLst>
                <a:ext uri="{FF2B5EF4-FFF2-40B4-BE49-F238E27FC236}">
                  <a16:creationId xmlns:a16="http://schemas.microsoft.com/office/drawing/2014/main" id="{76540565-16CE-4471-8C0B-6755CD314D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57">
              <a:extLst>
                <a:ext uri="{FF2B5EF4-FFF2-40B4-BE49-F238E27FC236}">
                  <a16:creationId xmlns:a16="http://schemas.microsoft.com/office/drawing/2014/main" id="{6413C66B-DFBA-4C63-A4C8-79EE9674C9B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id="{DFC84573-66E1-4FAD-8BD7-7BFB0D87C4FA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18B4DB-F6AC-481E-90D8-2767D03EDE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75623-B8B8-4DFB-93B8-47D871C590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410EBF1-9462-46EE-853C-73250FBD1F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D6F7BAE-6891-4D73-9360-E26C81A38C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7044F35-AD61-45E9-BFD6-79C27C9B66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4465" y="3167983"/>
            <a:ext cx="8496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A55CCC6-3616-42D4-A2FC-D8B4D5660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pic>
        <p:nvPicPr>
          <p:cNvPr id="295" name="Picture 294">
            <a:extLst>
              <a:ext uri="{FF2B5EF4-FFF2-40B4-BE49-F238E27FC236}">
                <a16:creationId xmlns:a16="http://schemas.microsoft.com/office/drawing/2014/main" id="{0168E357-EF9F-4809-8F23-7FB7D0FADA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69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gramma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Group 161">
            <a:extLst>
              <a:ext uri="{FF2B5EF4-FFF2-40B4-BE49-F238E27FC236}">
                <a16:creationId xmlns:a16="http://schemas.microsoft.com/office/drawing/2014/main" id="{BDC7F746-B99F-40A2-AD57-9140428319ED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C360095F-509E-463F-B43A-EF1A7711C7F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63" name="Line 147">
                <a:extLst>
                  <a:ext uri="{FF2B5EF4-FFF2-40B4-BE49-F238E27FC236}">
                    <a16:creationId xmlns:a16="http://schemas.microsoft.com/office/drawing/2014/main" id="{E1472680-30A9-4616-8D5B-1AA945066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49">
                <a:extLst>
                  <a:ext uri="{FF2B5EF4-FFF2-40B4-BE49-F238E27FC236}">
                    <a16:creationId xmlns:a16="http://schemas.microsoft.com/office/drawing/2014/main" id="{DAF36D3F-2596-40FB-980C-6AD48A4B2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51">
                <a:extLst>
                  <a:ext uri="{FF2B5EF4-FFF2-40B4-BE49-F238E27FC236}">
                    <a16:creationId xmlns:a16="http://schemas.microsoft.com/office/drawing/2014/main" id="{88E439F0-7406-497B-B6B8-4C1616A32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53">
                <a:extLst>
                  <a:ext uri="{FF2B5EF4-FFF2-40B4-BE49-F238E27FC236}">
                    <a16:creationId xmlns:a16="http://schemas.microsoft.com/office/drawing/2014/main" id="{F77C0D81-D020-4A60-97BF-02BCC9B17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55">
                <a:extLst>
                  <a:ext uri="{FF2B5EF4-FFF2-40B4-BE49-F238E27FC236}">
                    <a16:creationId xmlns:a16="http://schemas.microsoft.com/office/drawing/2014/main" id="{D44FB7FC-03F8-4C6A-9574-D1BFE201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57">
                <a:extLst>
                  <a:ext uri="{FF2B5EF4-FFF2-40B4-BE49-F238E27FC236}">
                    <a16:creationId xmlns:a16="http://schemas.microsoft.com/office/drawing/2014/main" id="{E68DC9FE-632F-4494-B83E-6E6CACA7D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59">
                <a:extLst>
                  <a:ext uri="{FF2B5EF4-FFF2-40B4-BE49-F238E27FC236}">
                    <a16:creationId xmlns:a16="http://schemas.microsoft.com/office/drawing/2014/main" id="{78F106BD-1036-4C76-AA4D-19CDB25BE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61">
                <a:extLst>
                  <a:ext uri="{FF2B5EF4-FFF2-40B4-BE49-F238E27FC236}">
                    <a16:creationId xmlns:a16="http://schemas.microsoft.com/office/drawing/2014/main" id="{EF097BA1-9E0B-4E26-A152-F1DBE27EC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63">
                <a:extLst>
                  <a:ext uri="{FF2B5EF4-FFF2-40B4-BE49-F238E27FC236}">
                    <a16:creationId xmlns:a16="http://schemas.microsoft.com/office/drawing/2014/main" id="{0AF1266D-7F7A-47E5-B9C9-8D45864488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65">
                <a:extLst>
                  <a:ext uri="{FF2B5EF4-FFF2-40B4-BE49-F238E27FC236}">
                    <a16:creationId xmlns:a16="http://schemas.microsoft.com/office/drawing/2014/main" id="{4DE5FE12-85CF-4AF6-81A7-DFFAA8219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67">
                <a:extLst>
                  <a:ext uri="{FF2B5EF4-FFF2-40B4-BE49-F238E27FC236}">
                    <a16:creationId xmlns:a16="http://schemas.microsoft.com/office/drawing/2014/main" id="{F8357C48-4D0D-487E-9770-B44E67FB56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69">
                <a:extLst>
                  <a:ext uri="{FF2B5EF4-FFF2-40B4-BE49-F238E27FC236}">
                    <a16:creationId xmlns:a16="http://schemas.microsoft.com/office/drawing/2014/main" id="{EF09BE5E-14A5-4F2A-897B-22730FCDBF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71">
                <a:extLst>
                  <a:ext uri="{FF2B5EF4-FFF2-40B4-BE49-F238E27FC236}">
                    <a16:creationId xmlns:a16="http://schemas.microsoft.com/office/drawing/2014/main" id="{9C5C5639-9773-400E-AC6C-1BCC2DBEC0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73">
                <a:extLst>
                  <a:ext uri="{FF2B5EF4-FFF2-40B4-BE49-F238E27FC236}">
                    <a16:creationId xmlns:a16="http://schemas.microsoft.com/office/drawing/2014/main" id="{B566365A-48DB-4CCF-A9C0-5F20D494A7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75">
                <a:extLst>
                  <a:ext uri="{FF2B5EF4-FFF2-40B4-BE49-F238E27FC236}">
                    <a16:creationId xmlns:a16="http://schemas.microsoft.com/office/drawing/2014/main" id="{24785787-8031-40C1-84EE-1149661194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77">
                <a:extLst>
                  <a:ext uri="{FF2B5EF4-FFF2-40B4-BE49-F238E27FC236}">
                    <a16:creationId xmlns:a16="http://schemas.microsoft.com/office/drawing/2014/main" id="{25415889-7D4C-43B8-B646-C637019D2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79">
                <a:extLst>
                  <a:ext uri="{FF2B5EF4-FFF2-40B4-BE49-F238E27FC236}">
                    <a16:creationId xmlns:a16="http://schemas.microsoft.com/office/drawing/2014/main" id="{00633AE0-F4F3-4DAB-8AE5-8B5820801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81">
                <a:extLst>
                  <a:ext uri="{FF2B5EF4-FFF2-40B4-BE49-F238E27FC236}">
                    <a16:creationId xmlns:a16="http://schemas.microsoft.com/office/drawing/2014/main" id="{EE77ECF1-616C-4B33-BD50-54F36B56C0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83">
                <a:extLst>
                  <a:ext uri="{FF2B5EF4-FFF2-40B4-BE49-F238E27FC236}">
                    <a16:creationId xmlns:a16="http://schemas.microsoft.com/office/drawing/2014/main" id="{9366E7BA-CD8D-47A5-A5A0-70208E0F3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85">
                <a:extLst>
                  <a:ext uri="{FF2B5EF4-FFF2-40B4-BE49-F238E27FC236}">
                    <a16:creationId xmlns:a16="http://schemas.microsoft.com/office/drawing/2014/main" id="{3D6382C1-1BED-4F61-9B69-0D5E7DE74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87">
                <a:extLst>
                  <a:ext uri="{FF2B5EF4-FFF2-40B4-BE49-F238E27FC236}">
                    <a16:creationId xmlns:a16="http://schemas.microsoft.com/office/drawing/2014/main" id="{A0743618-8F97-496E-95F7-54B03D9D8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189">
                <a:extLst>
                  <a:ext uri="{FF2B5EF4-FFF2-40B4-BE49-F238E27FC236}">
                    <a16:creationId xmlns:a16="http://schemas.microsoft.com/office/drawing/2014/main" id="{421C9AFE-AF67-4C95-90A3-9D2B5150B8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191">
                <a:extLst>
                  <a:ext uri="{FF2B5EF4-FFF2-40B4-BE49-F238E27FC236}">
                    <a16:creationId xmlns:a16="http://schemas.microsoft.com/office/drawing/2014/main" id="{3D94D569-ACB3-4755-B290-BC30693191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193">
                <a:extLst>
                  <a:ext uri="{FF2B5EF4-FFF2-40B4-BE49-F238E27FC236}">
                    <a16:creationId xmlns:a16="http://schemas.microsoft.com/office/drawing/2014/main" id="{10F96CBE-FB6A-4C8C-90A4-3196683FA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195">
                <a:extLst>
                  <a:ext uri="{FF2B5EF4-FFF2-40B4-BE49-F238E27FC236}">
                    <a16:creationId xmlns:a16="http://schemas.microsoft.com/office/drawing/2014/main" id="{E1A5C5B7-E77A-45D5-B005-A4C120F48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197">
                <a:extLst>
                  <a:ext uri="{FF2B5EF4-FFF2-40B4-BE49-F238E27FC236}">
                    <a16:creationId xmlns:a16="http://schemas.microsoft.com/office/drawing/2014/main" id="{2D12B806-AF97-4D5F-902A-F7CF8432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199">
                <a:extLst>
                  <a:ext uri="{FF2B5EF4-FFF2-40B4-BE49-F238E27FC236}">
                    <a16:creationId xmlns:a16="http://schemas.microsoft.com/office/drawing/2014/main" id="{E865F61F-B321-45AD-9869-CD61DF8589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01">
                <a:extLst>
                  <a:ext uri="{FF2B5EF4-FFF2-40B4-BE49-F238E27FC236}">
                    <a16:creationId xmlns:a16="http://schemas.microsoft.com/office/drawing/2014/main" id="{64BBEEDA-8FE2-4C5F-ABC6-A1B0B598CB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03">
                <a:extLst>
                  <a:ext uri="{FF2B5EF4-FFF2-40B4-BE49-F238E27FC236}">
                    <a16:creationId xmlns:a16="http://schemas.microsoft.com/office/drawing/2014/main" id="{1B4E30C2-FB50-4613-BD20-92EDC4BD3A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05">
                <a:extLst>
                  <a:ext uri="{FF2B5EF4-FFF2-40B4-BE49-F238E27FC236}">
                    <a16:creationId xmlns:a16="http://schemas.microsoft.com/office/drawing/2014/main" id="{EE32BE09-77E9-4654-881E-8055C105E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07">
                <a:extLst>
                  <a:ext uri="{FF2B5EF4-FFF2-40B4-BE49-F238E27FC236}">
                    <a16:creationId xmlns:a16="http://schemas.microsoft.com/office/drawing/2014/main" id="{70C62239-A866-496F-A1C6-5A795597C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09">
                <a:extLst>
                  <a:ext uri="{FF2B5EF4-FFF2-40B4-BE49-F238E27FC236}">
                    <a16:creationId xmlns:a16="http://schemas.microsoft.com/office/drawing/2014/main" id="{AC68A724-7F4F-4E94-B69C-7578F1E1B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11">
                <a:extLst>
                  <a:ext uri="{FF2B5EF4-FFF2-40B4-BE49-F238E27FC236}">
                    <a16:creationId xmlns:a16="http://schemas.microsoft.com/office/drawing/2014/main" id="{726D4BF8-CFCE-4745-B837-2934BB4C1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13">
                <a:extLst>
                  <a:ext uri="{FF2B5EF4-FFF2-40B4-BE49-F238E27FC236}">
                    <a16:creationId xmlns:a16="http://schemas.microsoft.com/office/drawing/2014/main" id="{FC053EFE-1D83-435E-A4EE-6BE469707F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15">
                <a:extLst>
                  <a:ext uri="{FF2B5EF4-FFF2-40B4-BE49-F238E27FC236}">
                    <a16:creationId xmlns:a16="http://schemas.microsoft.com/office/drawing/2014/main" id="{CF495888-A976-4B26-9E77-D622B32D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17">
                <a:extLst>
                  <a:ext uri="{FF2B5EF4-FFF2-40B4-BE49-F238E27FC236}">
                    <a16:creationId xmlns:a16="http://schemas.microsoft.com/office/drawing/2014/main" id="{9CCA0F8B-6D64-4B20-AA77-33452D24A9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19">
                <a:extLst>
                  <a:ext uri="{FF2B5EF4-FFF2-40B4-BE49-F238E27FC236}">
                    <a16:creationId xmlns:a16="http://schemas.microsoft.com/office/drawing/2014/main" id="{A033D39C-E03D-4D7A-A8B3-430B244153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21">
                <a:extLst>
                  <a:ext uri="{FF2B5EF4-FFF2-40B4-BE49-F238E27FC236}">
                    <a16:creationId xmlns:a16="http://schemas.microsoft.com/office/drawing/2014/main" id="{8A3F1E1B-46CA-4778-A828-5BE5BAB512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23">
                <a:extLst>
                  <a:ext uri="{FF2B5EF4-FFF2-40B4-BE49-F238E27FC236}">
                    <a16:creationId xmlns:a16="http://schemas.microsoft.com/office/drawing/2014/main" id="{8E1D8E1A-6885-4C16-BBD8-1515F1E962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25">
                <a:extLst>
                  <a:ext uri="{FF2B5EF4-FFF2-40B4-BE49-F238E27FC236}">
                    <a16:creationId xmlns:a16="http://schemas.microsoft.com/office/drawing/2014/main" id="{E2530039-095F-49B9-8F5F-3D2CA8DF77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27">
                <a:extLst>
                  <a:ext uri="{FF2B5EF4-FFF2-40B4-BE49-F238E27FC236}">
                    <a16:creationId xmlns:a16="http://schemas.microsoft.com/office/drawing/2014/main" id="{D9FCB00D-D7C8-4C22-9F9B-A01C1F0A8B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29">
                <a:extLst>
                  <a:ext uri="{FF2B5EF4-FFF2-40B4-BE49-F238E27FC236}">
                    <a16:creationId xmlns:a16="http://schemas.microsoft.com/office/drawing/2014/main" id="{CA89E442-9410-49FC-AD0C-CA4B17A3AB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CF4850D8-92BD-4EE4-A246-753DEBA5B2C4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21" name="Line 146">
                <a:extLst>
                  <a:ext uri="{FF2B5EF4-FFF2-40B4-BE49-F238E27FC236}">
                    <a16:creationId xmlns:a16="http://schemas.microsoft.com/office/drawing/2014/main" id="{03DAE532-E0D7-46ED-B110-0C309BF65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48">
                <a:extLst>
                  <a:ext uri="{FF2B5EF4-FFF2-40B4-BE49-F238E27FC236}">
                    <a16:creationId xmlns:a16="http://schemas.microsoft.com/office/drawing/2014/main" id="{597613E4-D60C-42E7-B84F-5720E10CA1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50">
                <a:extLst>
                  <a:ext uri="{FF2B5EF4-FFF2-40B4-BE49-F238E27FC236}">
                    <a16:creationId xmlns:a16="http://schemas.microsoft.com/office/drawing/2014/main" id="{3D9B7472-92BB-47B5-A963-8304A0F2DE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52">
                <a:extLst>
                  <a:ext uri="{FF2B5EF4-FFF2-40B4-BE49-F238E27FC236}">
                    <a16:creationId xmlns:a16="http://schemas.microsoft.com/office/drawing/2014/main" id="{739B4DE2-3A27-46FA-841B-4F08AAC00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54">
                <a:extLst>
                  <a:ext uri="{FF2B5EF4-FFF2-40B4-BE49-F238E27FC236}">
                    <a16:creationId xmlns:a16="http://schemas.microsoft.com/office/drawing/2014/main" id="{67CD3F55-DCED-4BC4-B181-6ACC7D899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56">
                <a:extLst>
                  <a:ext uri="{FF2B5EF4-FFF2-40B4-BE49-F238E27FC236}">
                    <a16:creationId xmlns:a16="http://schemas.microsoft.com/office/drawing/2014/main" id="{877E4DEE-D6BC-4A7E-99A6-03889873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58">
                <a:extLst>
                  <a:ext uri="{FF2B5EF4-FFF2-40B4-BE49-F238E27FC236}">
                    <a16:creationId xmlns:a16="http://schemas.microsoft.com/office/drawing/2014/main" id="{10B05B6D-356D-4EA2-8E4D-9CC7A53FC6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60">
                <a:extLst>
                  <a:ext uri="{FF2B5EF4-FFF2-40B4-BE49-F238E27FC236}">
                    <a16:creationId xmlns:a16="http://schemas.microsoft.com/office/drawing/2014/main" id="{B224E711-914B-460A-8C28-8C77A9878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62">
                <a:extLst>
                  <a:ext uri="{FF2B5EF4-FFF2-40B4-BE49-F238E27FC236}">
                    <a16:creationId xmlns:a16="http://schemas.microsoft.com/office/drawing/2014/main" id="{3FE55354-8D64-4966-BDF3-9C68269B4A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64">
                <a:extLst>
                  <a:ext uri="{FF2B5EF4-FFF2-40B4-BE49-F238E27FC236}">
                    <a16:creationId xmlns:a16="http://schemas.microsoft.com/office/drawing/2014/main" id="{ADD88AA6-00D5-47B3-9955-E0DF74F65D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66">
                <a:extLst>
                  <a:ext uri="{FF2B5EF4-FFF2-40B4-BE49-F238E27FC236}">
                    <a16:creationId xmlns:a16="http://schemas.microsoft.com/office/drawing/2014/main" id="{6EE8A24D-293C-4F24-8DFA-18D10D6E4D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68">
                <a:extLst>
                  <a:ext uri="{FF2B5EF4-FFF2-40B4-BE49-F238E27FC236}">
                    <a16:creationId xmlns:a16="http://schemas.microsoft.com/office/drawing/2014/main" id="{B758A4A6-F7A3-4344-9499-E3EFCE8DE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70">
                <a:extLst>
                  <a:ext uri="{FF2B5EF4-FFF2-40B4-BE49-F238E27FC236}">
                    <a16:creationId xmlns:a16="http://schemas.microsoft.com/office/drawing/2014/main" id="{166C147F-FA93-4CA4-9BDA-D2C531ADCA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72">
                <a:extLst>
                  <a:ext uri="{FF2B5EF4-FFF2-40B4-BE49-F238E27FC236}">
                    <a16:creationId xmlns:a16="http://schemas.microsoft.com/office/drawing/2014/main" id="{9C960618-FB25-41B6-80C8-8E904F713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74">
                <a:extLst>
                  <a:ext uri="{FF2B5EF4-FFF2-40B4-BE49-F238E27FC236}">
                    <a16:creationId xmlns:a16="http://schemas.microsoft.com/office/drawing/2014/main" id="{B5C3324D-DE35-4640-95E8-A40E416328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76">
                <a:extLst>
                  <a:ext uri="{FF2B5EF4-FFF2-40B4-BE49-F238E27FC236}">
                    <a16:creationId xmlns:a16="http://schemas.microsoft.com/office/drawing/2014/main" id="{F2FE8670-79A8-4074-ACD3-33FED9B085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78">
                <a:extLst>
                  <a:ext uri="{FF2B5EF4-FFF2-40B4-BE49-F238E27FC236}">
                    <a16:creationId xmlns:a16="http://schemas.microsoft.com/office/drawing/2014/main" id="{8C35BB13-93AB-4401-A7E6-D90832D6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80">
                <a:extLst>
                  <a:ext uri="{FF2B5EF4-FFF2-40B4-BE49-F238E27FC236}">
                    <a16:creationId xmlns:a16="http://schemas.microsoft.com/office/drawing/2014/main" id="{3A9A0EF2-2524-4BB4-8783-80448D59B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82">
                <a:extLst>
                  <a:ext uri="{FF2B5EF4-FFF2-40B4-BE49-F238E27FC236}">
                    <a16:creationId xmlns:a16="http://schemas.microsoft.com/office/drawing/2014/main" id="{B1A9E170-D89A-4C01-B2CD-31F7EBF86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84">
                <a:extLst>
                  <a:ext uri="{FF2B5EF4-FFF2-40B4-BE49-F238E27FC236}">
                    <a16:creationId xmlns:a16="http://schemas.microsoft.com/office/drawing/2014/main" id="{488CA930-2A6A-46B1-BC85-B15BB5AE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86">
                <a:extLst>
                  <a:ext uri="{FF2B5EF4-FFF2-40B4-BE49-F238E27FC236}">
                    <a16:creationId xmlns:a16="http://schemas.microsoft.com/office/drawing/2014/main" id="{5C185122-AA25-48DB-A536-BA22E29F6E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188">
                <a:extLst>
                  <a:ext uri="{FF2B5EF4-FFF2-40B4-BE49-F238E27FC236}">
                    <a16:creationId xmlns:a16="http://schemas.microsoft.com/office/drawing/2014/main" id="{02984725-A3BD-4860-A4CE-0F510874B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90">
                <a:extLst>
                  <a:ext uri="{FF2B5EF4-FFF2-40B4-BE49-F238E27FC236}">
                    <a16:creationId xmlns:a16="http://schemas.microsoft.com/office/drawing/2014/main" id="{4C167980-7CE0-4FF4-A61A-D811A663D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92">
                <a:extLst>
                  <a:ext uri="{FF2B5EF4-FFF2-40B4-BE49-F238E27FC236}">
                    <a16:creationId xmlns:a16="http://schemas.microsoft.com/office/drawing/2014/main" id="{9E66DEFD-A95B-4BF8-B7DD-8B437C448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94">
                <a:extLst>
                  <a:ext uri="{FF2B5EF4-FFF2-40B4-BE49-F238E27FC236}">
                    <a16:creationId xmlns:a16="http://schemas.microsoft.com/office/drawing/2014/main" id="{FCF44D68-E540-4177-9883-978DC777D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96">
                <a:extLst>
                  <a:ext uri="{FF2B5EF4-FFF2-40B4-BE49-F238E27FC236}">
                    <a16:creationId xmlns:a16="http://schemas.microsoft.com/office/drawing/2014/main" id="{E042A842-6B79-44A2-862C-EDAD5ACE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98">
                <a:extLst>
                  <a:ext uri="{FF2B5EF4-FFF2-40B4-BE49-F238E27FC236}">
                    <a16:creationId xmlns:a16="http://schemas.microsoft.com/office/drawing/2014/main" id="{25B4CF36-65A4-460C-BE1C-EB0360E97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00">
                <a:extLst>
                  <a:ext uri="{FF2B5EF4-FFF2-40B4-BE49-F238E27FC236}">
                    <a16:creationId xmlns:a16="http://schemas.microsoft.com/office/drawing/2014/main" id="{40934358-8CFA-4AFB-B2C9-EDAE3232FD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02">
                <a:extLst>
                  <a:ext uri="{FF2B5EF4-FFF2-40B4-BE49-F238E27FC236}">
                    <a16:creationId xmlns:a16="http://schemas.microsoft.com/office/drawing/2014/main" id="{A50DD74A-6ED1-409A-A66D-B2C3234CFF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04">
                <a:extLst>
                  <a:ext uri="{FF2B5EF4-FFF2-40B4-BE49-F238E27FC236}">
                    <a16:creationId xmlns:a16="http://schemas.microsoft.com/office/drawing/2014/main" id="{48DAE05A-01C5-4CBC-8ADA-B28206CE9F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06">
                <a:extLst>
                  <a:ext uri="{FF2B5EF4-FFF2-40B4-BE49-F238E27FC236}">
                    <a16:creationId xmlns:a16="http://schemas.microsoft.com/office/drawing/2014/main" id="{F05196E2-70D8-4D0E-AEA8-C27C9833A5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08">
                <a:extLst>
                  <a:ext uri="{FF2B5EF4-FFF2-40B4-BE49-F238E27FC236}">
                    <a16:creationId xmlns:a16="http://schemas.microsoft.com/office/drawing/2014/main" id="{135065CB-0019-4CFE-AAA3-FA88373B53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10">
                <a:extLst>
                  <a:ext uri="{FF2B5EF4-FFF2-40B4-BE49-F238E27FC236}">
                    <a16:creationId xmlns:a16="http://schemas.microsoft.com/office/drawing/2014/main" id="{D37C043E-61FD-46F6-A831-82B9E520AF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12">
                <a:extLst>
                  <a:ext uri="{FF2B5EF4-FFF2-40B4-BE49-F238E27FC236}">
                    <a16:creationId xmlns:a16="http://schemas.microsoft.com/office/drawing/2014/main" id="{91E72AA4-16D0-404B-B1A0-D2799D4A77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14">
                <a:extLst>
                  <a:ext uri="{FF2B5EF4-FFF2-40B4-BE49-F238E27FC236}">
                    <a16:creationId xmlns:a16="http://schemas.microsoft.com/office/drawing/2014/main" id="{A55437F1-05CE-475F-AC44-2D5BF58182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16">
                <a:extLst>
                  <a:ext uri="{FF2B5EF4-FFF2-40B4-BE49-F238E27FC236}">
                    <a16:creationId xmlns:a16="http://schemas.microsoft.com/office/drawing/2014/main" id="{B83C84D3-AA94-4732-8F64-6215A0E6FD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18">
                <a:extLst>
                  <a:ext uri="{FF2B5EF4-FFF2-40B4-BE49-F238E27FC236}">
                    <a16:creationId xmlns:a16="http://schemas.microsoft.com/office/drawing/2014/main" id="{01695F59-ACC7-4E26-B726-633962DE8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20">
                <a:extLst>
                  <a:ext uri="{FF2B5EF4-FFF2-40B4-BE49-F238E27FC236}">
                    <a16:creationId xmlns:a16="http://schemas.microsoft.com/office/drawing/2014/main" id="{14B8EE63-5956-4F62-B912-7BB6E10B0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22">
                <a:extLst>
                  <a:ext uri="{FF2B5EF4-FFF2-40B4-BE49-F238E27FC236}">
                    <a16:creationId xmlns:a16="http://schemas.microsoft.com/office/drawing/2014/main" id="{D09EB05B-D530-492A-896C-AA89B4C09D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24">
                <a:extLst>
                  <a:ext uri="{FF2B5EF4-FFF2-40B4-BE49-F238E27FC236}">
                    <a16:creationId xmlns:a16="http://schemas.microsoft.com/office/drawing/2014/main" id="{180B870E-E657-4D09-B068-6AB64754E5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26">
                <a:extLst>
                  <a:ext uri="{FF2B5EF4-FFF2-40B4-BE49-F238E27FC236}">
                    <a16:creationId xmlns:a16="http://schemas.microsoft.com/office/drawing/2014/main" id="{952F33FE-F7FE-48BC-87CA-B654EEA51A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28">
                <a:extLst>
                  <a:ext uri="{FF2B5EF4-FFF2-40B4-BE49-F238E27FC236}">
                    <a16:creationId xmlns:a16="http://schemas.microsoft.com/office/drawing/2014/main" id="{9994A86B-6E21-4B3D-9C05-702914AEB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BA865ED0-6920-44E6-825E-D8BF1926AF2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8" name="Line 230">
                <a:extLst>
                  <a:ext uri="{FF2B5EF4-FFF2-40B4-BE49-F238E27FC236}">
                    <a16:creationId xmlns:a16="http://schemas.microsoft.com/office/drawing/2014/main" id="{E62BCDD3-218E-40E1-B460-89F63BFAC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32">
                <a:extLst>
                  <a:ext uri="{FF2B5EF4-FFF2-40B4-BE49-F238E27FC236}">
                    <a16:creationId xmlns:a16="http://schemas.microsoft.com/office/drawing/2014/main" id="{239AB7D7-E799-43BF-815B-312214FE31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34">
                <a:extLst>
                  <a:ext uri="{FF2B5EF4-FFF2-40B4-BE49-F238E27FC236}">
                    <a16:creationId xmlns:a16="http://schemas.microsoft.com/office/drawing/2014/main" id="{2A7AAA51-13EC-46DD-937E-9D1351AF1B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36">
                <a:extLst>
                  <a:ext uri="{FF2B5EF4-FFF2-40B4-BE49-F238E27FC236}">
                    <a16:creationId xmlns:a16="http://schemas.microsoft.com/office/drawing/2014/main" id="{4642E5FA-2AB4-4211-A143-07534AD98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38">
                <a:extLst>
                  <a:ext uri="{FF2B5EF4-FFF2-40B4-BE49-F238E27FC236}">
                    <a16:creationId xmlns:a16="http://schemas.microsoft.com/office/drawing/2014/main" id="{9ED3BB99-3A04-4EF2-94CE-4C933EA5F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40">
                <a:extLst>
                  <a:ext uri="{FF2B5EF4-FFF2-40B4-BE49-F238E27FC236}">
                    <a16:creationId xmlns:a16="http://schemas.microsoft.com/office/drawing/2014/main" id="{CAFD1575-6727-4A9E-A28E-AC5145CB5B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44">
                <a:extLst>
                  <a:ext uri="{FF2B5EF4-FFF2-40B4-BE49-F238E27FC236}">
                    <a16:creationId xmlns:a16="http://schemas.microsoft.com/office/drawing/2014/main" id="{D2D70ED5-00BE-4C31-AE18-B2658C1B2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46">
                <a:extLst>
                  <a:ext uri="{FF2B5EF4-FFF2-40B4-BE49-F238E27FC236}">
                    <a16:creationId xmlns:a16="http://schemas.microsoft.com/office/drawing/2014/main" id="{73BADF95-8760-40BA-8680-1CCF409D8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50">
                <a:extLst>
                  <a:ext uri="{FF2B5EF4-FFF2-40B4-BE49-F238E27FC236}">
                    <a16:creationId xmlns:a16="http://schemas.microsoft.com/office/drawing/2014/main" id="{A98D2128-DD22-4BA1-B516-635BC614D7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52">
                <a:extLst>
                  <a:ext uri="{FF2B5EF4-FFF2-40B4-BE49-F238E27FC236}">
                    <a16:creationId xmlns:a16="http://schemas.microsoft.com/office/drawing/2014/main" id="{70DFB897-163A-4C0E-9F81-958FC0F1D6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54">
                <a:extLst>
                  <a:ext uri="{FF2B5EF4-FFF2-40B4-BE49-F238E27FC236}">
                    <a16:creationId xmlns:a16="http://schemas.microsoft.com/office/drawing/2014/main" id="{3992CCE1-8C0E-4ADF-9696-39D2513F64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56">
                <a:extLst>
                  <a:ext uri="{FF2B5EF4-FFF2-40B4-BE49-F238E27FC236}">
                    <a16:creationId xmlns:a16="http://schemas.microsoft.com/office/drawing/2014/main" id="{B41DDA35-21A4-476A-A7C8-74A4960CEB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58">
                <a:extLst>
                  <a:ext uri="{FF2B5EF4-FFF2-40B4-BE49-F238E27FC236}">
                    <a16:creationId xmlns:a16="http://schemas.microsoft.com/office/drawing/2014/main" id="{0347F641-AA30-4104-A95C-2D177EE9B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60">
                <a:extLst>
                  <a:ext uri="{FF2B5EF4-FFF2-40B4-BE49-F238E27FC236}">
                    <a16:creationId xmlns:a16="http://schemas.microsoft.com/office/drawing/2014/main" id="{30A5C753-EECC-4633-8EC3-64DF601E5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62">
                <a:extLst>
                  <a:ext uri="{FF2B5EF4-FFF2-40B4-BE49-F238E27FC236}">
                    <a16:creationId xmlns:a16="http://schemas.microsoft.com/office/drawing/2014/main" id="{0D12FE01-C2CB-4578-88BE-5ACCD7FE08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64">
                <a:extLst>
                  <a:ext uri="{FF2B5EF4-FFF2-40B4-BE49-F238E27FC236}">
                    <a16:creationId xmlns:a16="http://schemas.microsoft.com/office/drawing/2014/main" id="{D489D925-019E-4683-B615-AB58B17FC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66">
                <a:extLst>
                  <a:ext uri="{FF2B5EF4-FFF2-40B4-BE49-F238E27FC236}">
                    <a16:creationId xmlns:a16="http://schemas.microsoft.com/office/drawing/2014/main" id="{77E0DF3D-C914-4F9A-8865-BE6586461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68">
                <a:extLst>
                  <a:ext uri="{FF2B5EF4-FFF2-40B4-BE49-F238E27FC236}">
                    <a16:creationId xmlns:a16="http://schemas.microsoft.com/office/drawing/2014/main" id="{7659ED77-DCFE-4D8B-ABE5-69FCC09E0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70">
                <a:extLst>
                  <a:ext uri="{FF2B5EF4-FFF2-40B4-BE49-F238E27FC236}">
                    <a16:creationId xmlns:a16="http://schemas.microsoft.com/office/drawing/2014/main" id="{981FB3A0-84AE-4695-A5EE-CF1BEE9D4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72">
                <a:extLst>
                  <a:ext uri="{FF2B5EF4-FFF2-40B4-BE49-F238E27FC236}">
                    <a16:creationId xmlns:a16="http://schemas.microsoft.com/office/drawing/2014/main" id="{8BB91FAE-B244-40F0-8B9D-956FE30218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74">
                <a:extLst>
                  <a:ext uri="{FF2B5EF4-FFF2-40B4-BE49-F238E27FC236}">
                    <a16:creationId xmlns:a16="http://schemas.microsoft.com/office/drawing/2014/main" id="{3BBC32F8-A660-4D26-9AEE-1F772178E4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76">
                <a:extLst>
                  <a:ext uri="{FF2B5EF4-FFF2-40B4-BE49-F238E27FC236}">
                    <a16:creationId xmlns:a16="http://schemas.microsoft.com/office/drawing/2014/main" id="{8E903D7E-1FEC-47CD-AEBE-5535F5465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78">
                <a:extLst>
                  <a:ext uri="{FF2B5EF4-FFF2-40B4-BE49-F238E27FC236}">
                    <a16:creationId xmlns:a16="http://schemas.microsoft.com/office/drawing/2014/main" id="{6348FCC9-208E-402D-BA21-026385E1C9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6DDF4A7A-4E30-4728-94F0-FE2374935433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75" name="Line 231">
                <a:extLst>
                  <a:ext uri="{FF2B5EF4-FFF2-40B4-BE49-F238E27FC236}">
                    <a16:creationId xmlns:a16="http://schemas.microsoft.com/office/drawing/2014/main" id="{6CD86409-2EE7-4B00-AFF7-579D9B403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33">
                <a:extLst>
                  <a:ext uri="{FF2B5EF4-FFF2-40B4-BE49-F238E27FC236}">
                    <a16:creationId xmlns:a16="http://schemas.microsoft.com/office/drawing/2014/main" id="{0F2BA580-D3CA-4AB3-BDB7-48B87BF531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35">
                <a:extLst>
                  <a:ext uri="{FF2B5EF4-FFF2-40B4-BE49-F238E27FC236}">
                    <a16:creationId xmlns:a16="http://schemas.microsoft.com/office/drawing/2014/main" id="{60B42080-80BA-4099-9236-B327A3655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7">
                <a:extLst>
                  <a:ext uri="{FF2B5EF4-FFF2-40B4-BE49-F238E27FC236}">
                    <a16:creationId xmlns:a16="http://schemas.microsoft.com/office/drawing/2014/main" id="{C26DC9F0-9212-4E80-9DAB-ABF3061227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9">
                <a:extLst>
                  <a:ext uri="{FF2B5EF4-FFF2-40B4-BE49-F238E27FC236}">
                    <a16:creationId xmlns:a16="http://schemas.microsoft.com/office/drawing/2014/main" id="{B2E1D34B-4AA3-4743-9354-E6C6783311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41">
                <a:extLst>
                  <a:ext uri="{FF2B5EF4-FFF2-40B4-BE49-F238E27FC236}">
                    <a16:creationId xmlns:a16="http://schemas.microsoft.com/office/drawing/2014/main" id="{9E056F38-1392-40EF-8741-DB132F8890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45">
                <a:extLst>
                  <a:ext uri="{FF2B5EF4-FFF2-40B4-BE49-F238E27FC236}">
                    <a16:creationId xmlns:a16="http://schemas.microsoft.com/office/drawing/2014/main" id="{844F2FAE-BABC-49E8-8B9A-C241F0ADCA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7">
                <a:extLst>
                  <a:ext uri="{FF2B5EF4-FFF2-40B4-BE49-F238E27FC236}">
                    <a16:creationId xmlns:a16="http://schemas.microsoft.com/office/drawing/2014/main" id="{05FD8040-2539-4C75-BC70-40453D74A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51">
                <a:extLst>
                  <a:ext uri="{FF2B5EF4-FFF2-40B4-BE49-F238E27FC236}">
                    <a16:creationId xmlns:a16="http://schemas.microsoft.com/office/drawing/2014/main" id="{4ABEB3A3-6123-46B9-8444-DA55EB43D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53">
                <a:extLst>
                  <a:ext uri="{FF2B5EF4-FFF2-40B4-BE49-F238E27FC236}">
                    <a16:creationId xmlns:a16="http://schemas.microsoft.com/office/drawing/2014/main" id="{D9E35ADD-7BA4-41CA-84C0-B96FE2AAC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5">
                <a:extLst>
                  <a:ext uri="{FF2B5EF4-FFF2-40B4-BE49-F238E27FC236}">
                    <a16:creationId xmlns:a16="http://schemas.microsoft.com/office/drawing/2014/main" id="{E847E3C9-28F5-4135-96C2-C90CAD8AA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7">
                <a:extLst>
                  <a:ext uri="{FF2B5EF4-FFF2-40B4-BE49-F238E27FC236}">
                    <a16:creationId xmlns:a16="http://schemas.microsoft.com/office/drawing/2014/main" id="{772D8F2C-68BD-495E-A5BE-BB08FEFCA0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9">
                <a:extLst>
                  <a:ext uri="{FF2B5EF4-FFF2-40B4-BE49-F238E27FC236}">
                    <a16:creationId xmlns:a16="http://schemas.microsoft.com/office/drawing/2014/main" id="{C62A1A65-3E9C-416F-8BB6-F18FC65F7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61">
                <a:extLst>
                  <a:ext uri="{FF2B5EF4-FFF2-40B4-BE49-F238E27FC236}">
                    <a16:creationId xmlns:a16="http://schemas.microsoft.com/office/drawing/2014/main" id="{BE7C0D65-3BA8-4618-B761-F86CE62FFC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63">
                <a:extLst>
                  <a:ext uri="{FF2B5EF4-FFF2-40B4-BE49-F238E27FC236}">
                    <a16:creationId xmlns:a16="http://schemas.microsoft.com/office/drawing/2014/main" id="{AB32AF5D-69D7-4C1F-AB5A-D17D8DC69B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5">
                <a:extLst>
                  <a:ext uri="{FF2B5EF4-FFF2-40B4-BE49-F238E27FC236}">
                    <a16:creationId xmlns:a16="http://schemas.microsoft.com/office/drawing/2014/main" id="{938476AB-6408-41ED-91FB-16DA276673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7">
                <a:extLst>
                  <a:ext uri="{FF2B5EF4-FFF2-40B4-BE49-F238E27FC236}">
                    <a16:creationId xmlns:a16="http://schemas.microsoft.com/office/drawing/2014/main" id="{755146F0-B0DB-4BC9-B053-DFB66AAB9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9">
                <a:extLst>
                  <a:ext uri="{FF2B5EF4-FFF2-40B4-BE49-F238E27FC236}">
                    <a16:creationId xmlns:a16="http://schemas.microsoft.com/office/drawing/2014/main" id="{D57CE5AB-0FB8-44A2-BDB4-DFA5286F24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71">
                <a:extLst>
                  <a:ext uri="{FF2B5EF4-FFF2-40B4-BE49-F238E27FC236}">
                    <a16:creationId xmlns:a16="http://schemas.microsoft.com/office/drawing/2014/main" id="{865524E1-F296-4085-9334-7B58766039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73">
                <a:extLst>
                  <a:ext uri="{FF2B5EF4-FFF2-40B4-BE49-F238E27FC236}">
                    <a16:creationId xmlns:a16="http://schemas.microsoft.com/office/drawing/2014/main" id="{9CEEE1FC-235E-4A5A-B43F-B7F7FA517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5">
                <a:extLst>
                  <a:ext uri="{FF2B5EF4-FFF2-40B4-BE49-F238E27FC236}">
                    <a16:creationId xmlns:a16="http://schemas.microsoft.com/office/drawing/2014/main" id="{623FEFD4-341D-436D-A835-3529D60B20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7">
                <a:extLst>
                  <a:ext uri="{FF2B5EF4-FFF2-40B4-BE49-F238E27FC236}">
                    <a16:creationId xmlns:a16="http://schemas.microsoft.com/office/drawing/2014/main" id="{98544334-0033-4381-9B22-CA3D8FDD8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9">
                <a:extLst>
                  <a:ext uri="{FF2B5EF4-FFF2-40B4-BE49-F238E27FC236}">
                    <a16:creationId xmlns:a16="http://schemas.microsoft.com/office/drawing/2014/main" id="{68AE6B81-53C5-4B4C-8594-23B0C3894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7" name="Line 256">
              <a:extLst>
                <a:ext uri="{FF2B5EF4-FFF2-40B4-BE49-F238E27FC236}">
                  <a16:creationId xmlns:a16="http://schemas.microsoft.com/office/drawing/2014/main" id="{BA6D8DBB-F2EF-4B2A-9F89-6E5086E94B7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147">
              <a:extLst>
                <a:ext uri="{FF2B5EF4-FFF2-40B4-BE49-F238E27FC236}">
                  <a16:creationId xmlns:a16="http://schemas.microsoft.com/office/drawing/2014/main" id="{9D93E83A-1BCE-4C38-B551-4599E387FE7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9" name="Line 146">
              <a:extLst>
                <a:ext uri="{FF2B5EF4-FFF2-40B4-BE49-F238E27FC236}">
                  <a16:creationId xmlns:a16="http://schemas.microsoft.com/office/drawing/2014/main" id="{234DE278-BB1C-43F5-BC79-C8510861E1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0" name="Line 234">
              <a:extLst>
                <a:ext uri="{FF2B5EF4-FFF2-40B4-BE49-F238E27FC236}">
                  <a16:creationId xmlns:a16="http://schemas.microsoft.com/office/drawing/2014/main" id="{E9FB33DF-E88F-4295-B04D-6DED1FA8F13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1" name="Line 204">
              <a:extLst>
                <a:ext uri="{FF2B5EF4-FFF2-40B4-BE49-F238E27FC236}">
                  <a16:creationId xmlns:a16="http://schemas.microsoft.com/office/drawing/2014/main" id="{F0C0F63D-5EAB-47A9-9698-02284D3DD5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2" name="Line 235">
              <a:extLst>
                <a:ext uri="{FF2B5EF4-FFF2-40B4-BE49-F238E27FC236}">
                  <a16:creationId xmlns:a16="http://schemas.microsoft.com/office/drawing/2014/main" id="{8C367350-1D0E-4390-9D7F-4E249D30F70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3" name="Line 205">
              <a:extLst>
                <a:ext uri="{FF2B5EF4-FFF2-40B4-BE49-F238E27FC236}">
                  <a16:creationId xmlns:a16="http://schemas.microsoft.com/office/drawing/2014/main" id="{E2ED082A-B1BB-453B-85B7-44C60E36D72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4" name="Line 257">
              <a:extLst>
                <a:ext uri="{FF2B5EF4-FFF2-40B4-BE49-F238E27FC236}">
                  <a16:creationId xmlns:a16="http://schemas.microsoft.com/office/drawing/2014/main" id="{DF72F21D-CC20-4935-99A2-367BBAFDACD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id="{D554F18D-CDE4-4960-88A3-80441AAEA20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t>‹nr.›</a:t>
            </a:fld>
            <a:endParaRPr lang="nl-NL" noProof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C9B52F1-4EF7-4659-92B2-E815C2E922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1568B23-2831-4BEC-BA0D-62D68258C6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484A493-7599-48BB-97DC-DC96DBB632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0376562-828D-4ABD-9844-1B9B940501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E41E452E-2647-467B-94FE-48AA698D230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4465" y="3167983"/>
            <a:ext cx="2212975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40646BF-1976-4B22-8A08-6FD786D4348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627535" y="382090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24630CB-2526-4BD1-97C3-C9AEA0EF3D8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27535" y="1209199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145D8F2-2D2C-4BC6-9919-A54B22E5414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627535" y="1862127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1FD1C9D-CF2C-46B2-AF96-6D945ED4110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27535" y="2515055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52AA4D0-0215-4789-A531-7BC8EDA677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627535" y="3167983"/>
            <a:ext cx="6192000" cy="504000"/>
          </a:xfrm>
          <a:prstGeom prst="rect">
            <a:avLst/>
          </a:prstGeom>
          <a:solidFill>
            <a:srgbClr val="6378DE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D401E5-87A9-4FDC-8894-2252C5586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pic>
        <p:nvPicPr>
          <p:cNvPr id="305" name="Picture 304">
            <a:extLst>
              <a:ext uri="{FF2B5EF4-FFF2-40B4-BE49-F238E27FC236}">
                <a16:creationId xmlns:a16="http://schemas.microsoft.com/office/drawing/2014/main" id="{DCF6FDC4-24DF-4752-94DD-10814FC99F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7254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0A55526-4790-4D3D-AD3D-7B7B48C7DD3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849507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51E667-F178-4FC4-BC78-17258BAD01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13718F-01F2-42FA-8BC0-FA027F8C1B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477B118-C513-4EDA-8AD0-8A30932F0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293271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ia me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roup 146">
            <a:extLst>
              <a:ext uri="{FF2B5EF4-FFF2-40B4-BE49-F238E27FC236}">
                <a16:creationId xmlns:a16="http://schemas.microsoft.com/office/drawing/2014/main" id="{A40690B5-E9C4-469E-AC47-F81538B63E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697FE097-B5EF-4A16-9535-933B0CE8218F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0" name="Line 147">
                <a:extLst>
                  <a:ext uri="{FF2B5EF4-FFF2-40B4-BE49-F238E27FC236}">
                    <a16:creationId xmlns:a16="http://schemas.microsoft.com/office/drawing/2014/main" id="{17034044-DC63-4BBB-B17F-87B33F94C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49">
                <a:extLst>
                  <a:ext uri="{FF2B5EF4-FFF2-40B4-BE49-F238E27FC236}">
                    <a16:creationId xmlns:a16="http://schemas.microsoft.com/office/drawing/2014/main" id="{6117D515-E534-4C98-A07F-539C2B0F4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1">
                <a:extLst>
                  <a:ext uri="{FF2B5EF4-FFF2-40B4-BE49-F238E27FC236}">
                    <a16:creationId xmlns:a16="http://schemas.microsoft.com/office/drawing/2014/main" id="{829916D9-D789-494F-933C-45BF8A615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3">
                <a:extLst>
                  <a:ext uri="{FF2B5EF4-FFF2-40B4-BE49-F238E27FC236}">
                    <a16:creationId xmlns:a16="http://schemas.microsoft.com/office/drawing/2014/main" id="{CC0ADEE3-6CBB-4AE2-84A2-8B89A8F5D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5">
                <a:extLst>
                  <a:ext uri="{FF2B5EF4-FFF2-40B4-BE49-F238E27FC236}">
                    <a16:creationId xmlns:a16="http://schemas.microsoft.com/office/drawing/2014/main" id="{9F00A087-216A-4886-8634-7B4EB7DF45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7">
                <a:extLst>
                  <a:ext uri="{FF2B5EF4-FFF2-40B4-BE49-F238E27FC236}">
                    <a16:creationId xmlns:a16="http://schemas.microsoft.com/office/drawing/2014/main" id="{C8248545-84FB-4774-8768-819EBF5E84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9">
                <a:extLst>
                  <a:ext uri="{FF2B5EF4-FFF2-40B4-BE49-F238E27FC236}">
                    <a16:creationId xmlns:a16="http://schemas.microsoft.com/office/drawing/2014/main" id="{413277B2-2FDC-4402-B9D7-9012656812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1">
                <a:extLst>
                  <a:ext uri="{FF2B5EF4-FFF2-40B4-BE49-F238E27FC236}">
                    <a16:creationId xmlns:a16="http://schemas.microsoft.com/office/drawing/2014/main" id="{24B97852-692C-42BC-B82B-0B83268D3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3">
                <a:extLst>
                  <a:ext uri="{FF2B5EF4-FFF2-40B4-BE49-F238E27FC236}">
                    <a16:creationId xmlns:a16="http://schemas.microsoft.com/office/drawing/2014/main" id="{0E66D167-7063-412B-9D64-606FE59120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5">
                <a:extLst>
                  <a:ext uri="{FF2B5EF4-FFF2-40B4-BE49-F238E27FC236}">
                    <a16:creationId xmlns:a16="http://schemas.microsoft.com/office/drawing/2014/main" id="{165EAB49-1207-4991-B1BE-6308C7C2CB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7">
                <a:extLst>
                  <a:ext uri="{FF2B5EF4-FFF2-40B4-BE49-F238E27FC236}">
                    <a16:creationId xmlns:a16="http://schemas.microsoft.com/office/drawing/2014/main" id="{E0A1B4C5-824D-44EE-96DA-924A218DE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9">
                <a:extLst>
                  <a:ext uri="{FF2B5EF4-FFF2-40B4-BE49-F238E27FC236}">
                    <a16:creationId xmlns:a16="http://schemas.microsoft.com/office/drawing/2014/main" id="{05E85AE7-6821-44C4-96BD-355B7EBCEC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1">
                <a:extLst>
                  <a:ext uri="{FF2B5EF4-FFF2-40B4-BE49-F238E27FC236}">
                    <a16:creationId xmlns:a16="http://schemas.microsoft.com/office/drawing/2014/main" id="{8C0C0A9E-0C1C-4B1E-B751-DF8105535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3">
                <a:extLst>
                  <a:ext uri="{FF2B5EF4-FFF2-40B4-BE49-F238E27FC236}">
                    <a16:creationId xmlns:a16="http://schemas.microsoft.com/office/drawing/2014/main" id="{B478EFAB-D9FD-4C47-A147-52EB939C9F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5">
                <a:extLst>
                  <a:ext uri="{FF2B5EF4-FFF2-40B4-BE49-F238E27FC236}">
                    <a16:creationId xmlns:a16="http://schemas.microsoft.com/office/drawing/2014/main" id="{44C3B31A-95D3-44E5-ABAD-2E4437D085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7">
                <a:extLst>
                  <a:ext uri="{FF2B5EF4-FFF2-40B4-BE49-F238E27FC236}">
                    <a16:creationId xmlns:a16="http://schemas.microsoft.com/office/drawing/2014/main" id="{CCEA6105-B894-4A2A-9F06-4E9BB9FAF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9">
                <a:extLst>
                  <a:ext uri="{FF2B5EF4-FFF2-40B4-BE49-F238E27FC236}">
                    <a16:creationId xmlns:a16="http://schemas.microsoft.com/office/drawing/2014/main" id="{361D4955-92C9-4AEA-B52F-28DBE9DB5C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1">
                <a:extLst>
                  <a:ext uri="{FF2B5EF4-FFF2-40B4-BE49-F238E27FC236}">
                    <a16:creationId xmlns:a16="http://schemas.microsoft.com/office/drawing/2014/main" id="{5450A0EB-88C1-4150-B5CE-B48E92231B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3">
                <a:extLst>
                  <a:ext uri="{FF2B5EF4-FFF2-40B4-BE49-F238E27FC236}">
                    <a16:creationId xmlns:a16="http://schemas.microsoft.com/office/drawing/2014/main" id="{0F2366BA-5281-4E4A-9350-643498075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5">
                <a:extLst>
                  <a:ext uri="{FF2B5EF4-FFF2-40B4-BE49-F238E27FC236}">
                    <a16:creationId xmlns:a16="http://schemas.microsoft.com/office/drawing/2014/main" id="{A63F1032-8329-4582-A780-129BA7002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7">
                <a:extLst>
                  <a:ext uri="{FF2B5EF4-FFF2-40B4-BE49-F238E27FC236}">
                    <a16:creationId xmlns:a16="http://schemas.microsoft.com/office/drawing/2014/main" id="{FF4848E1-CF02-4ECA-A114-F7AB7EA6C1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9">
                <a:extLst>
                  <a:ext uri="{FF2B5EF4-FFF2-40B4-BE49-F238E27FC236}">
                    <a16:creationId xmlns:a16="http://schemas.microsoft.com/office/drawing/2014/main" id="{B69A0D17-1A04-4AE9-B177-108357903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1">
                <a:extLst>
                  <a:ext uri="{FF2B5EF4-FFF2-40B4-BE49-F238E27FC236}">
                    <a16:creationId xmlns:a16="http://schemas.microsoft.com/office/drawing/2014/main" id="{0B158D20-87D3-4335-8546-62860EFCB7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3">
                <a:extLst>
                  <a:ext uri="{FF2B5EF4-FFF2-40B4-BE49-F238E27FC236}">
                    <a16:creationId xmlns:a16="http://schemas.microsoft.com/office/drawing/2014/main" id="{EE11EF58-066F-4355-9D23-1172FDE8B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5">
                <a:extLst>
                  <a:ext uri="{FF2B5EF4-FFF2-40B4-BE49-F238E27FC236}">
                    <a16:creationId xmlns:a16="http://schemas.microsoft.com/office/drawing/2014/main" id="{F4469AD9-1922-4B97-BDC3-F96D018AA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7">
                <a:extLst>
                  <a:ext uri="{FF2B5EF4-FFF2-40B4-BE49-F238E27FC236}">
                    <a16:creationId xmlns:a16="http://schemas.microsoft.com/office/drawing/2014/main" id="{5148BBB2-74B3-43DF-9744-1655540E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9">
                <a:extLst>
                  <a:ext uri="{FF2B5EF4-FFF2-40B4-BE49-F238E27FC236}">
                    <a16:creationId xmlns:a16="http://schemas.microsoft.com/office/drawing/2014/main" id="{B1D21481-117F-4297-9239-51CA390001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1">
                <a:extLst>
                  <a:ext uri="{FF2B5EF4-FFF2-40B4-BE49-F238E27FC236}">
                    <a16:creationId xmlns:a16="http://schemas.microsoft.com/office/drawing/2014/main" id="{A0580CDD-C035-4FB4-8F63-759796480C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3">
                <a:extLst>
                  <a:ext uri="{FF2B5EF4-FFF2-40B4-BE49-F238E27FC236}">
                    <a16:creationId xmlns:a16="http://schemas.microsoft.com/office/drawing/2014/main" id="{907E1FB5-13AE-46FB-A0AC-4B25CD830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5">
                <a:extLst>
                  <a:ext uri="{FF2B5EF4-FFF2-40B4-BE49-F238E27FC236}">
                    <a16:creationId xmlns:a16="http://schemas.microsoft.com/office/drawing/2014/main" id="{40616647-40FE-4238-BD55-ACFF4A492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7">
                <a:extLst>
                  <a:ext uri="{FF2B5EF4-FFF2-40B4-BE49-F238E27FC236}">
                    <a16:creationId xmlns:a16="http://schemas.microsoft.com/office/drawing/2014/main" id="{E1C739C0-B3EA-42AB-87AF-BBEC569948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9">
                <a:extLst>
                  <a:ext uri="{FF2B5EF4-FFF2-40B4-BE49-F238E27FC236}">
                    <a16:creationId xmlns:a16="http://schemas.microsoft.com/office/drawing/2014/main" id="{B8C9A92C-C7AF-46F6-A056-CB4C688BAA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1">
                <a:extLst>
                  <a:ext uri="{FF2B5EF4-FFF2-40B4-BE49-F238E27FC236}">
                    <a16:creationId xmlns:a16="http://schemas.microsoft.com/office/drawing/2014/main" id="{02810E1B-B477-4C28-9C23-9EFBFA2E02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3">
                <a:extLst>
                  <a:ext uri="{FF2B5EF4-FFF2-40B4-BE49-F238E27FC236}">
                    <a16:creationId xmlns:a16="http://schemas.microsoft.com/office/drawing/2014/main" id="{566F2FDD-9D7A-4E85-A873-FE6C2A18C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5">
                <a:extLst>
                  <a:ext uri="{FF2B5EF4-FFF2-40B4-BE49-F238E27FC236}">
                    <a16:creationId xmlns:a16="http://schemas.microsoft.com/office/drawing/2014/main" id="{5D81E0EC-5F1A-4959-AC02-966D35E381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7">
                <a:extLst>
                  <a:ext uri="{FF2B5EF4-FFF2-40B4-BE49-F238E27FC236}">
                    <a16:creationId xmlns:a16="http://schemas.microsoft.com/office/drawing/2014/main" id="{7BE96885-9828-4527-BFD4-08735E5DE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id="{DA35E73C-468B-403C-9B41-C64A95F4F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id="{82FA20D1-AEE0-4DCC-AC59-67740CCD31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id="{2529D67D-D951-4370-8F9F-7AEF8F8A49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id="{B5193411-4A74-44AC-9C33-B6F377876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id="{6448700C-17F9-4DE2-94E5-92AC932185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id="{530753BB-D972-433D-B811-DA69EEEE5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EF87CCB9-2335-47E4-B8BE-AD93D5161FFC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8" name="Line 146">
                <a:extLst>
                  <a:ext uri="{FF2B5EF4-FFF2-40B4-BE49-F238E27FC236}">
                    <a16:creationId xmlns:a16="http://schemas.microsoft.com/office/drawing/2014/main" id="{D1EFEFA1-A46C-40B4-BB60-F08E8885B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48">
                <a:extLst>
                  <a:ext uri="{FF2B5EF4-FFF2-40B4-BE49-F238E27FC236}">
                    <a16:creationId xmlns:a16="http://schemas.microsoft.com/office/drawing/2014/main" id="{8E7BF867-03C5-4DC9-93DB-89D5A16FE8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0">
                <a:extLst>
                  <a:ext uri="{FF2B5EF4-FFF2-40B4-BE49-F238E27FC236}">
                    <a16:creationId xmlns:a16="http://schemas.microsoft.com/office/drawing/2014/main" id="{31E623F1-4F81-42E3-8DB8-DDB4D964E2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2">
                <a:extLst>
                  <a:ext uri="{FF2B5EF4-FFF2-40B4-BE49-F238E27FC236}">
                    <a16:creationId xmlns:a16="http://schemas.microsoft.com/office/drawing/2014/main" id="{2EFB8657-03A8-4B75-8CF2-3F6138E75E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4">
                <a:extLst>
                  <a:ext uri="{FF2B5EF4-FFF2-40B4-BE49-F238E27FC236}">
                    <a16:creationId xmlns:a16="http://schemas.microsoft.com/office/drawing/2014/main" id="{73233227-1EBC-4CAF-8153-3D15859CE5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6">
                <a:extLst>
                  <a:ext uri="{FF2B5EF4-FFF2-40B4-BE49-F238E27FC236}">
                    <a16:creationId xmlns:a16="http://schemas.microsoft.com/office/drawing/2014/main" id="{83D3F6CB-93A9-4D0F-8BBC-4EC1BB8EB7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8">
                <a:extLst>
                  <a:ext uri="{FF2B5EF4-FFF2-40B4-BE49-F238E27FC236}">
                    <a16:creationId xmlns:a16="http://schemas.microsoft.com/office/drawing/2014/main" id="{A068D2A4-0026-49EB-9C92-75E95CD48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0">
                <a:extLst>
                  <a:ext uri="{FF2B5EF4-FFF2-40B4-BE49-F238E27FC236}">
                    <a16:creationId xmlns:a16="http://schemas.microsoft.com/office/drawing/2014/main" id="{6AC41DE3-5E04-41A0-810D-4C7F50D934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2">
                <a:extLst>
                  <a:ext uri="{FF2B5EF4-FFF2-40B4-BE49-F238E27FC236}">
                    <a16:creationId xmlns:a16="http://schemas.microsoft.com/office/drawing/2014/main" id="{B90A228F-02B2-40A6-AE8D-27C1F3BED9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4">
                <a:extLst>
                  <a:ext uri="{FF2B5EF4-FFF2-40B4-BE49-F238E27FC236}">
                    <a16:creationId xmlns:a16="http://schemas.microsoft.com/office/drawing/2014/main" id="{99ECB891-56FC-4A2A-8078-CC2BBA4A8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6">
                <a:extLst>
                  <a:ext uri="{FF2B5EF4-FFF2-40B4-BE49-F238E27FC236}">
                    <a16:creationId xmlns:a16="http://schemas.microsoft.com/office/drawing/2014/main" id="{8E0674F2-427D-466A-B705-7CEBC6202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8">
                <a:extLst>
                  <a:ext uri="{FF2B5EF4-FFF2-40B4-BE49-F238E27FC236}">
                    <a16:creationId xmlns:a16="http://schemas.microsoft.com/office/drawing/2014/main" id="{1E1320AF-F9AB-41E0-A647-3BC3E5D76C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0">
                <a:extLst>
                  <a:ext uri="{FF2B5EF4-FFF2-40B4-BE49-F238E27FC236}">
                    <a16:creationId xmlns:a16="http://schemas.microsoft.com/office/drawing/2014/main" id="{32813D28-967C-4BB1-BE05-34B350DC9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2">
                <a:extLst>
                  <a:ext uri="{FF2B5EF4-FFF2-40B4-BE49-F238E27FC236}">
                    <a16:creationId xmlns:a16="http://schemas.microsoft.com/office/drawing/2014/main" id="{A39BBDF1-BF96-4926-8406-53AD44908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4">
                <a:extLst>
                  <a:ext uri="{FF2B5EF4-FFF2-40B4-BE49-F238E27FC236}">
                    <a16:creationId xmlns:a16="http://schemas.microsoft.com/office/drawing/2014/main" id="{70181C6B-EEA5-4836-8121-9E6A66B01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6">
                <a:extLst>
                  <a:ext uri="{FF2B5EF4-FFF2-40B4-BE49-F238E27FC236}">
                    <a16:creationId xmlns:a16="http://schemas.microsoft.com/office/drawing/2014/main" id="{35EA05DE-5D06-4879-A903-A2DD73A679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8">
                <a:extLst>
                  <a:ext uri="{FF2B5EF4-FFF2-40B4-BE49-F238E27FC236}">
                    <a16:creationId xmlns:a16="http://schemas.microsoft.com/office/drawing/2014/main" id="{5194EC96-FF69-4B5B-B554-593B6BBB7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0">
                <a:extLst>
                  <a:ext uri="{FF2B5EF4-FFF2-40B4-BE49-F238E27FC236}">
                    <a16:creationId xmlns:a16="http://schemas.microsoft.com/office/drawing/2014/main" id="{E754ACFB-2D3A-452E-9AB4-1A8166B7A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2">
                <a:extLst>
                  <a:ext uri="{FF2B5EF4-FFF2-40B4-BE49-F238E27FC236}">
                    <a16:creationId xmlns:a16="http://schemas.microsoft.com/office/drawing/2014/main" id="{88AC129D-943B-4B17-BF5A-EA8CD134F2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4">
                <a:extLst>
                  <a:ext uri="{FF2B5EF4-FFF2-40B4-BE49-F238E27FC236}">
                    <a16:creationId xmlns:a16="http://schemas.microsoft.com/office/drawing/2014/main" id="{CF2B417E-731B-42D7-99EB-153864D57B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6">
                <a:extLst>
                  <a:ext uri="{FF2B5EF4-FFF2-40B4-BE49-F238E27FC236}">
                    <a16:creationId xmlns:a16="http://schemas.microsoft.com/office/drawing/2014/main" id="{767543FC-883C-4305-B617-AE4656676F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8">
                <a:extLst>
                  <a:ext uri="{FF2B5EF4-FFF2-40B4-BE49-F238E27FC236}">
                    <a16:creationId xmlns:a16="http://schemas.microsoft.com/office/drawing/2014/main" id="{0393DAC8-ABB2-43E0-9BBF-842447AE6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0">
                <a:extLst>
                  <a:ext uri="{FF2B5EF4-FFF2-40B4-BE49-F238E27FC236}">
                    <a16:creationId xmlns:a16="http://schemas.microsoft.com/office/drawing/2014/main" id="{B5E225F8-EA88-4874-BC85-C566AB1F66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2">
                <a:extLst>
                  <a:ext uri="{FF2B5EF4-FFF2-40B4-BE49-F238E27FC236}">
                    <a16:creationId xmlns:a16="http://schemas.microsoft.com/office/drawing/2014/main" id="{3692FDE1-E159-4709-8E6A-D55D8ABBE4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4">
                <a:extLst>
                  <a:ext uri="{FF2B5EF4-FFF2-40B4-BE49-F238E27FC236}">
                    <a16:creationId xmlns:a16="http://schemas.microsoft.com/office/drawing/2014/main" id="{0EE14279-43BC-4FAE-8A50-F2D2BAD1D4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6">
                <a:extLst>
                  <a:ext uri="{FF2B5EF4-FFF2-40B4-BE49-F238E27FC236}">
                    <a16:creationId xmlns:a16="http://schemas.microsoft.com/office/drawing/2014/main" id="{08195A30-530C-4034-A66E-DF043925F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8">
                <a:extLst>
                  <a:ext uri="{FF2B5EF4-FFF2-40B4-BE49-F238E27FC236}">
                    <a16:creationId xmlns:a16="http://schemas.microsoft.com/office/drawing/2014/main" id="{BDB03AAF-2B8B-43EF-9107-4141775135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0">
                <a:extLst>
                  <a:ext uri="{FF2B5EF4-FFF2-40B4-BE49-F238E27FC236}">
                    <a16:creationId xmlns:a16="http://schemas.microsoft.com/office/drawing/2014/main" id="{32FF3914-A85F-459A-A09C-61EDDDF14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2">
                <a:extLst>
                  <a:ext uri="{FF2B5EF4-FFF2-40B4-BE49-F238E27FC236}">
                    <a16:creationId xmlns:a16="http://schemas.microsoft.com/office/drawing/2014/main" id="{7EC27BF0-685C-477D-AB3C-15B82C1CF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4">
                <a:extLst>
                  <a:ext uri="{FF2B5EF4-FFF2-40B4-BE49-F238E27FC236}">
                    <a16:creationId xmlns:a16="http://schemas.microsoft.com/office/drawing/2014/main" id="{12BE50FF-FB7B-48A4-B695-B63CF6FD43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6">
                <a:extLst>
                  <a:ext uri="{FF2B5EF4-FFF2-40B4-BE49-F238E27FC236}">
                    <a16:creationId xmlns:a16="http://schemas.microsoft.com/office/drawing/2014/main" id="{35A63F43-7AD9-433E-A314-5B6AAE001D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8">
                <a:extLst>
                  <a:ext uri="{FF2B5EF4-FFF2-40B4-BE49-F238E27FC236}">
                    <a16:creationId xmlns:a16="http://schemas.microsoft.com/office/drawing/2014/main" id="{10E15754-9361-48A1-B24E-0964D9FEB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0">
                <a:extLst>
                  <a:ext uri="{FF2B5EF4-FFF2-40B4-BE49-F238E27FC236}">
                    <a16:creationId xmlns:a16="http://schemas.microsoft.com/office/drawing/2014/main" id="{BA9B8B1F-989B-47D5-B299-3E96D222DD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2">
                <a:extLst>
                  <a:ext uri="{FF2B5EF4-FFF2-40B4-BE49-F238E27FC236}">
                    <a16:creationId xmlns:a16="http://schemas.microsoft.com/office/drawing/2014/main" id="{FAF833C4-1CF7-4178-8010-5F321EE55A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4">
                <a:extLst>
                  <a:ext uri="{FF2B5EF4-FFF2-40B4-BE49-F238E27FC236}">
                    <a16:creationId xmlns:a16="http://schemas.microsoft.com/office/drawing/2014/main" id="{E12120E9-7283-4679-8801-D83F2939C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6">
                <a:extLst>
                  <a:ext uri="{FF2B5EF4-FFF2-40B4-BE49-F238E27FC236}">
                    <a16:creationId xmlns:a16="http://schemas.microsoft.com/office/drawing/2014/main" id="{3152997B-DA0E-4450-8459-6E2F2A2B8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8">
                <a:extLst>
                  <a:ext uri="{FF2B5EF4-FFF2-40B4-BE49-F238E27FC236}">
                    <a16:creationId xmlns:a16="http://schemas.microsoft.com/office/drawing/2014/main" id="{4E6A5C42-8CD9-45F3-8C7B-5CD8265F0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0">
                <a:extLst>
                  <a:ext uri="{FF2B5EF4-FFF2-40B4-BE49-F238E27FC236}">
                    <a16:creationId xmlns:a16="http://schemas.microsoft.com/office/drawing/2014/main" id="{36AC0DED-022A-4E15-8018-545238689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2">
                <a:extLst>
                  <a:ext uri="{FF2B5EF4-FFF2-40B4-BE49-F238E27FC236}">
                    <a16:creationId xmlns:a16="http://schemas.microsoft.com/office/drawing/2014/main" id="{481F1987-E1C3-4713-BE2F-3787ED8EE4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4">
                <a:extLst>
                  <a:ext uri="{FF2B5EF4-FFF2-40B4-BE49-F238E27FC236}">
                    <a16:creationId xmlns:a16="http://schemas.microsoft.com/office/drawing/2014/main" id="{E1AD3531-1D0C-406F-81AB-836C562BAD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6">
                <a:extLst>
                  <a:ext uri="{FF2B5EF4-FFF2-40B4-BE49-F238E27FC236}">
                    <a16:creationId xmlns:a16="http://schemas.microsoft.com/office/drawing/2014/main" id="{546ADE77-05D7-4421-9E7D-17B5B70D8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8">
                <a:extLst>
                  <a:ext uri="{FF2B5EF4-FFF2-40B4-BE49-F238E27FC236}">
                    <a16:creationId xmlns:a16="http://schemas.microsoft.com/office/drawing/2014/main" id="{BC5CE8A1-1DDC-4D28-8697-A6AC3C00E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74968231-8D34-4834-8593-71F3A211CD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5" name="Line 230">
                <a:extLst>
                  <a:ext uri="{FF2B5EF4-FFF2-40B4-BE49-F238E27FC236}">
                    <a16:creationId xmlns:a16="http://schemas.microsoft.com/office/drawing/2014/main" id="{04557C33-97EA-4E8E-991E-130961DA30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2">
                <a:extLst>
                  <a:ext uri="{FF2B5EF4-FFF2-40B4-BE49-F238E27FC236}">
                    <a16:creationId xmlns:a16="http://schemas.microsoft.com/office/drawing/2014/main" id="{A6A197B5-0D34-486A-B4CF-E7A474691B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4">
                <a:extLst>
                  <a:ext uri="{FF2B5EF4-FFF2-40B4-BE49-F238E27FC236}">
                    <a16:creationId xmlns:a16="http://schemas.microsoft.com/office/drawing/2014/main" id="{AFEE32E6-9EF7-4818-8C0F-21F7A09BA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6">
                <a:extLst>
                  <a:ext uri="{FF2B5EF4-FFF2-40B4-BE49-F238E27FC236}">
                    <a16:creationId xmlns:a16="http://schemas.microsoft.com/office/drawing/2014/main" id="{F5AA8349-599F-4768-BB33-82E630631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8">
                <a:extLst>
                  <a:ext uri="{FF2B5EF4-FFF2-40B4-BE49-F238E27FC236}">
                    <a16:creationId xmlns:a16="http://schemas.microsoft.com/office/drawing/2014/main" id="{FB043EEE-47A4-4965-AACB-62C2026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0">
                <a:extLst>
                  <a:ext uri="{FF2B5EF4-FFF2-40B4-BE49-F238E27FC236}">
                    <a16:creationId xmlns:a16="http://schemas.microsoft.com/office/drawing/2014/main" id="{2C098676-9138-4761-89CA-9C8A39F0ED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4">
                <a:extLst>
                  <a:ext uri="{FF2B5EF4-FFF2-40B4-BE49-F238E27FC236}">
                    <a16:creationId xmlns:a16="http://schemas.microsoft.com/office/drawing/2014/main" id="{8BFD93AF-4380-42AF-B59E-876829789C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46">
                <a:extLst>
                  <a:ext uri="{FF2B5EF4-FFF2-40B4-BE49-F238E27FC236}">
                    <a16:creationId xmlns:a16="http://schemas.microsoft.com/office/drawing/2014/main" id="{017F97AD-BBBD-4DA7-B46D-9613CD589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0">
                <a:extLst>
                  <a:ext uri="{FF2B5EF4-FFF2-40B4-BE49-F238E27FC236}">
                    <a16:creationId xmlns:a16="http://schemas.microsoft.com/office/drawing/2014/main" id="{8500D82D-5859-46AA-9302-7107A20B30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2">
                <a:extLst>
                  <a:ext uri="{FF2B5EF4-FFF2-40B4-BE49-F238E27FC236}">
                    <a16:creationId xmlns:a16="http://schemas.microsoft.com/office/drawing/2014/main" id="{C0C24EED-8E38-45E1-A0A8-ABE678DF17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4">
                <a:extLst>
                  <a:ext uri="{FF2B5EF4-FFF2-40B4-BE49-F238E27FC236}">
                    <a16:creationId xmlns:a16="http://schemas.microsoft.com/office/drawing/2014/main" id="{C17C675D-A25F-4DC6-B09C-23E303439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6">
                <a:extLst>
                  <a:ext uri="{FF2B5EF4-FFF2-40B4-BE49-F238E27FC236}">
                    <a16:creationId xmlns:a16="http://schemas.microsoft.com/office/drawing/2014/main" id="{113678F4-C9F0-4DB1-B184-A43A11CB4D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8">
                <a:extLst>
                  <a:ext uri="{FF2B5EF4-FFF2-40B4-BE49-F238E27FC236}">
                    <a16:creationId xmlns:a16="http://schemas.microsoft.com/office/drawing/2014/main" id="{43D99B42-6C21-4A7D-B8D0-07444CFC3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0">
                <a:extLst>
                  <a:ext uri="{FF2B5EF4-FFF2-40B4-BE49-F238E27FC236}">
                    <a16:creationId xmlns:a16="http://schemas.microsoft.com/office/drawing/2014/main" id="{63D3573C-77F7-4DAE-A68C-96855622B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2">
                <a:extLst>
                  <a:ext uri="{FF2B5EF4-FFF2-40B4-BE49-F238E27FC236}">
                    <a16:creationId xmlns:a16="http://schemas.microsoft.com/office/drawing/2014/main" id="{5FCA2964-E0D5-4CF3-8A05-93E556C88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4">
                <a:extLst>
                  <a:ext uri="{FF2B5EF4-FFF2-40B4-BE49-F238E27FC236}">
                    <a16:creationId xmlns:a16="http://schemas.microsoft.com/office/drawing/2014/main" id="{5991EFDE-BA5D-47B0-8A9C-29A37732E5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6">
                <a:extLst>
                  <a:ext uri="{FF2B5EF4-FFF2-40B4-BE49-F238E27FC236}">
                    <a16:creationId xmlns:a16="http://schemas.microsoft.com/office/drawing/2014/main" id="{A30CCDA1-7F11-4F3F-8739-9FC2DEAC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8">
                <a:extLst>
                  <a:ext uri="{FF2B5EF4-FFF2-40B4-BE49-F238E27FC236}">
                    <a16:creationId xmlns:a16="http://schemas.microsoft.com/office/drawing/2014/main" id="{F1055711-F5B5-4DC0-BFCF-A211608EC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0">
                <a:extLst>
                  <a:ext uri="{FF2B5EF4-FFF2-40B4-BE49-F238E27FC236}">
                    <a16:creationId xmlns:a16="http://schemas.microsoft.com/office/drawing/2014/main" id="{E44F8029-15FC-4284-A8C5-F5023467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2">
                <a:extLst>
                  <a:ext uri="{FF2B5EF4-FFF2-40B4-BE49-F238E27FC236}">
                    <a16:creationId xmlns:a16="http://schemas.microsoft.com/office/drawing/2014/main" id="{DF461D6A-303D-4123-A8C3-CF0483CBCF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4">
                <a:extLst>
                  <a:ext uri="{FF2B5EF4-FFF2-40B4-BE49-F238E27FC236}">
                    <a16:creationId xmlns:a16="http://schemas.microsoft.com/office/drawing/2014/main" id="{8F572F1C-5D7D-41BA-9DB2-FEA292489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6">
                <a:extLst>
                  <a:ext uri="{FF2B5EF4-FFF2-40B4-BE49-F238E27FC236}">
                    <a16:creationId xmlns:a16="http://schemas.microsoft.com/office/drawing/2014/main" id="{70B90865-83AC-483C-9F65-30662BBE0A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8">
                <a:extLst>
                  <a:ext uri="{FF2B5EF4-FFF2-40B4-BE49-F238E27FC236}">
                    <a16:creationId xmlns:a16="http://schemas.microsoft.com/office/drawing/2014/main" id="{40DCA5DA-0C30-47FD-B7DF-60A6B1DDD3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9B36FFC7-9CF7-4E4E-8BA4-47846B1C0F96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2" name="Line 231">
                <a:extLst>
                  <a:ext uri="{FF2B5EF4-FFF2-40B4-BE49-F238E27FC236}">
                    <a16:creationId xmlns:a16="http://schemas.microsoft.com/office/drawing/2014/main" id="{38CE8375-EA21-44F5-A9CF-A6CD0E4480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3">
                <a:extLst>
                  <a:ext uri="{FF2B5EF4-FFF2-40B4-BE49-F238E27FC236}">
                    <a16:creationId xmlns:a16="http://schemas.microsoft.com/office/drawing/2014/main" id="{0CE3D2D3-BCEC-4D8D-B041-64A2C5F35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5">
                <a:extLst>
                  <a:ext uri="{FF2B5EF4-FFF2-40B4-BE49-F238E27FC236}">
                    <a16:creationId xmlns:a16="http://schemas.microsoft.com/office/drawing/2014/main" id="{F1C1D9F1-12C3-4494-A6A1-A6E6AB0BC2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7">
                <a:extLst>
                  <a:ext uri="{FF2B5EF4-FFF2-40B4-BE49-F238E27FC236}">
                    <a16:creationId xmlns:a16="http://schemas.microsoft.com/office/drawing/2014/main" id="{83D64B73-EA1A-44FC-B0E2-3149B33842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9">
                <a:extLst>
                  <a:ext uri="{FF2B5EF4-FFF2-40B4-BE49-F238E27FC236}">
                    <a16:creationId xmlns:a16="http://schemas.microsoft.com/office/drawing/2014/main" id="{505E45CB-4256-4D27-8413-DA69E33E1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1">
                <a:extLst>
                  <a:ext uri="{FF2B5EF4-FFF2-40B4-BE49-F238E27FC236}">
                    <a16:creationId xmlns:a16="http://schemas.microsoft.com/office/drawing/2014/main" id="{DE17B19A-66E7-40B1-8F19-5647C50C0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5">
                <a:extLst>
                  <a:ext uri="{FF2B5EF4-FFF2-40B4-BE49-F238E27FC236}">
                    <a16:creationId xmlns:a16="http://schemas.microsoft.com/office/drawing/2014/main" id="{A9FE2900-1AFF-4595-8834-90BF723A66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47">
                <a:extLst>
                  <a:ext uri="{FF2B5EF4-FFF2-40B4-BE49-F238E27FC236}">
                    <a16:creationId xmlns:a16="http://schemas.microsoft.com/office/drawing/2014/main" id="{C813FA1E-1177-4517-AFB5-4877D33269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1">
                <a:extLst>
                  <a:ext uri="{FF2B5EF4-FFF2-40B4-BE49-F238E27FC236}">
                    <a16:creationId xmlns:a16="http://schemas.microsoft.com/office/drawing/2014/main" id="{F8B61CE8-99BA-4580-9AF6-61DB206784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3">
                <a:extLst>
                  <a:ext uri="{FF2B5EF4-FFF2-40B4-BE49-F238E27FC236}">
                    <a16:creationId xmlns:a16="http://schemas.microsoft.com/office/drawing/2014/main" id="{24D422A2-B4DC-4C86-BC1E-ADA7B8188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5">
                <a:extLst>
                  <a:ext uri="{FF2B5EF4-FFF2-40B4-BE49-F238E27FC236}">
                    <a16:creationId xmlns:a16="http://schemas.microsoft.com/office/drawing/2014/main" id="{3EF8E5FD-53F5-457C-B2E1-A9C46FAF4A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7">
                <a:extLst>
                  <a:ext uri="{FF2B5EF4-FFF2-40B4-BE49-F238E27FC236}">
                    <a16:creationId xmlns:a16="http://schemas.microsoft.com/office/drawing/2014/main" id="{A36FDF4A-DD15-4DCF-B85F-911C947F54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9">
                <a:extLst>
                  <a:ext uri="{FF2B5EF4-FFF2-40B4-BE49-F238E27FC236}">
                    <a16:creationId xmlns:a16="http://schemas.microsoft.com/office/drawing/2014/main" id="{441D2367-FEA9-4D98-B55F-E478B5245D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1">
                <a:extLst>
                  <a:ext uri="{FF2B5EF4-FFF2-40B4-BE49-F238E27FC236}">
                    <a16:creationId xmlns:a16="http://schemas.microsoft.com/office/drawing/2014/main" id="{29994F7B-E421-4DD1-B9DC-C15016709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3">
                <a:extLst>
                  <a:ext uri="{FF2B5EF4-FFF2-40B4-BE49-F238E27FC236}">
                    <a16:creationId xmlns:a16="http://schemas.microsoft.com/office/drawing/2014/main" id="{E0C10A8F-CAC7-457A-8C09-1FF905CDE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5">
                <a:extLst>
                  <a:ext uri="{FF2B5EF4-FFF2-40B4-BE49-F238E27FC236}">
                    <a16:creationId xmlns:a16="http://schemas.microsoft.com/office/drawing/2014/main" id="{E9D3070A-240F-4D3B-B3B8-1AC966E15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7">
                <a:extLst>
                  <a:ext uri="{FF2B5EF4-FFF2-40B4-BE49-F238E27FC236}">
                    <a16:creationId xmlns:a16="http://schemas.microsoft.com/office/drawing/2014/main" id="{46BDDD84-9B4B-446B-9265-5EA70298CE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9">
                <a:extLst>
                  <a:ext uri="{FF2B5EF4-FFF2-40B4-BE49-F238E27FC236}">
                    <a16:creationId xmlns:a16="http://schemas.microsoft.com/office/drawing/2014/main" id="{B28DB61E-EE8C-4CF8-A50E-4200EB034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1">
                <a:extLst>
                  <a:ext uri="{FF2B5EF4-FFF2-40B4-BE49-F238E27FC236}">
                    <a16:creationId xmlns:a16="http://schemas.microsoft.com/office/drawing/2014/main" id="{1CFD5CA0-5029-4E5D-BA4E-3C073A219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3">
                <a:extLst>
                  <a:ext uri="{FF2B5EF4-FFF2-40B4-BE49-F238E27FC236}">
                    <a16:creationId xmlns:a16="http://schemas.microsoft.com/office/drawing/2014/main" id="{0AE8897C-7127-4EE2-8952-5A91B17523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5">
                <a:extLst>
                  <a:ext uri="{FF2B5EF4-FFF2-40B4-BE49-F238E27FC236}">
                    <a16:creationId xmlns:a16="http://schemas.microsoft.com/office/drawing/2014/main" id="{ADF7CB7D-D583-4CB3-B326-CB4C60EE94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7">
                <a:extLst>
                  <a:ext uri="{FF2B5EF4-FFF2-40B4-BE49-F238E27FC236}">
                    <a16:creationId xmlns:a16="http://schemas.microsoft.com/office/drawing/2014/main" id="{0F2CB675-50D2-4D1F-91D6-86A831BB9C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9">
                <a:extLst>
                  <a:ext uri="{FF2B5EF4-FFF2-40B4-BE49-F238E27FC236}">
                    <a16:creationId xmlns:a16="http://schemas.microsoft.com/office/drawing/2014/main" id="{3DF97F2C-3C34-4349-8CF7-D60DB6621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4" name="Line 256">
              <a:extLst>
                <a:ext uri="{FF2B5EF4-FFF2-40B4-BE49-F238E27FC236}">
                  <a16:creationId xmlns:a16="http://schemas.microsoft.com/office/drawing/2014/main" id="{6AF6E548-4D4C-429D-9652-83FEAA1EA8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7">
              <a:extLst>
                <a:ext uri="{FF2B5EF4-FFF2-40B4-BE49-F238E27FC236}">
                  <a16:creationId xmlns:a16="http://schemas.microsoft.com/office/drawing/2014/main" id="{CAE8A37B-4BE9-49E5-9912-AE62864E6B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146">
              <a:extLst>
                <a:ext uri="{FF2B5EF4-FFF2-40B4-BE49-F238E27FC236}">
                  <a16:creationId xmlns:a16="http://schemas.microsoft.com/office/drawing/2014/main" id="{83F365F1-D3D0-420F-8EBD-F904538704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34">
              <a:extLst>
                <a:ext uri="{FF2B5EF4-FFF2-40B4-BE49-F238E27FC236}">
                  <a16:creationId xmlns:a16="http://schemas.microsoft.com/office/drawing/2014/main" id="{C84B9F56-08DA-40CB-9208-3FF3A15FD1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04">
              <a:extLst>
                <a:ext uri="{FF2B5EF4-FFF2-40B4-BE49-F238E27FC236}">
                  <a16:creationId xmlns:a16="http://schemas.microsoft.com/office/drawing/2014/main" id="{069F3FEC-AFCC-4BAB-A228-9DC1DCBFD5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35">
              <a:extLst>
                <a:ext uri="{FF2B5EF4-FFF2-40B4-BE49-F238E27FC236}">
                  <a16:creationId xmlns:a16="http://schemas.microsoft.com/office/drawing/2014/main" id="{395FE9C3-8197-4949-8D4E-DCEE127D03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05">
              <a:extLst>
                <a:ext uri="{FF2B5EF4-FFF2-40B4-BE49-F238E27FC236}">
                  <a16:creationId xmlns:a16="http://schemas.microsoft.com/office/drawing/2014/main" id="{CA84202A-39E1-4458-82FC-87A8AC27F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57">
              <a:extLst>
                <a:ext uri="{FF2B5EF4-FFF2-40B4-BE49-F238E27FC236}">
                  <a16:creationId xmlns:a16="http://schemas.microsoft.com/office/drawing/2014/main" id="{4455A161-3348-459F-97EF-CCEEDC172A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id="{631A3A67-BB3A-4CCB-8824-A27024844D4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4D562F-88FE-4312-9EAA-075B9E1B4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3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4D562F-88FE-4312-9EAA-075B9E1B4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1E7EB5B-8D86-4755-BBB6-0F986AD358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7">
            <a:extLst>
              <a:ext uri="{FF2B5EF4-FFF2-40B4-BE49-F238E27FC236}">
                <a16:creationId xmlns:a16="http://schemas.microsoft.com/office/drawing/2014/main" id="{B9B5B807-DF3E-4F21-A1FD-E1775E404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2690194"/>
            <a:ext cx="7027544" cy="830997"/>
          </a:xfrm>
        </p:spPr>
        <p:txBody>
          <a:bodyPr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Een korte titel</a:t>
            </a:r>
          </a:p>
        </p:txBody>
      </p:sp>
      <p:sp>
        <p:nvSpPr>
          <p:cNvPr id="9" name="Text Placeholder 81">
            <a:extLst>
              <a:ext uri="{FF2B5EF4-FFF2-40B4-BE49-F238E27FC236}">
                <a16:creationId xmlns:a16="http://schemas.microsoft.com/office/drawing/2014/main" id="{FD0D54BF-C26E-4122-BC3D-ED7166C63D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3475058"/>
            <a:ext cx="7028617" cy="469552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3A9AAC86-A499-43AF-AF51-921450F9A57B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F3DCCAEE-1E51-4502-A7C0-3794E534D7D8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36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CD6260A6-42AD-482B-85FF-AFC4B73CCD3B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149" name="Content Placeholder 1">
            <a:extLst>
              <a:ext uri="{FF2B5EF4-FFF2-40B4-BE49-F238E27FC236}">
                <a16:creationId xmlns:a16="http://schemas.microsoft.com/office/drawing/2014/main" id="{70C98D04-FD84-4066-8DAA-38793529225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A9160216-8210-4F61-9AB0-E76FF3D31E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0767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én kolom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AABE08A-C1E9-46C8-BA96-622AF3E01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9B5A2-F0F0-4BDA-88E1-B9A3367417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DCBC33-C067-4884-8680-327480CC5E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2CFCBBB-51D7-4F3E-91FE-80DBA1D5E5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679153"/>
            <a:ext cx="8495070" cy="26604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AA789D8-FA0A-4300-9736-9F1215FEFA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4" y="1225552"/>
            <a:ext cx="849507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901882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B10FA-6BC0-4949-A894-6B870D7F4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5FA086-5D3C-4AB7-9F57-C26DCDF1C3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9E1422-8E55-405F-AAA8-BBC4234FCB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AE2B101-E2E6-46BA-9473-9FFC8D1D6E9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00E714B-1DFA-4E5D-81E1-EA5E9D394DB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0473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2624870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kolommen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2DEB3C-AB51-43B8-B75F-DBF157BAA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74A4ABD-D56A-466A-8CD6-A9C7284230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B63322-FC94-454B-AB34-E22279076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DCDDD50-D27A-4B0B-A7DC-4CF5BB9C4C0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70473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28E33C0-B237-4BC7-967B-040BCCCB3ED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446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01AE5AD-B454-4F7C-8881-6F8212B15E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4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211619F-AC0F-4AE3-9637-E9BFAD1479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23154443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t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E8CEA2E-AFB5-46FC-899D-3CC2EC3C7F9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04735" y="1679153"/>
            <a:ext cx="4114800" cy="2660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nl-NL"/>
              <a:t>Klik op het pictogram als u een grafiek wilt toevoeg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7159DB-0009-4B01-83F5-A9C312119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29BA51-5114-4ADF-A37E-87C16F4191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FE292-1BA7-4BD0-B30E-418C0E2867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A5BE77E-F6E4-4CC8-8D09-BAD3F3F6247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91B52F7-87BA-4992-B079-C71EE6A10E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799012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én kolom tekst met grijs tekst bloc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3DC019-F317-4DBE-8BAD-A8E0F14C59C9}"/>
              </a:ext>
            </a:extLst>
          </p:cNvPr>
          <p:cNvSpPr/>
          <p:nvPr userDrawn="1"/>
        </p:nvSpPr>
        <p:spPr>
          <a:xfrm>
            <a:off x="6000750" y="0"/>
            <a:ext cx="3143250" cy="5143500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5EE02A6-D770-4B80-BFEA-346F458E8B7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32220" y="231279"/>
            <a:ext cx="2487315" cy="4093629"/>
          </a:xfrm>
        </p:spPr>
        <p:txBody>
          <a:bodyPr tIns="90000">
            <a:noAutofit/>
          </a:bodyPr>
          <a:lstStyle>
            <a:lvl1pPr>
              <a:lnSpc>
                <a:spcPct val="100000"/>
              </a:lnSpc>
              <a:spcAft>
                <a:spcPts val="2450"/>
              </a:spcAft>
              <a:defRPr sz="1400" b="1"/>
            </a:lvl1pPr>
            <a:lvl2pPr marL="182563" indent="-182563">
              <a:lnSpc>
                <a:spcPct val="100000"/>
              </a:lnSpc>
              <a:spcAft>
                <a:spcPts val="640"/>
              </a:spcAft>
              <a:defRPr sz="1400"/>
            </a:lvl2pPr>
            <a:lvl3pPr marL="182563" indent="-182563">
              <a:lnSpc>
                <a:spcPct val="100000"/>
              </a:lnSpc>
              <a:spcAft>
                <a:spcPts val="640"/>
              </a:spcAft>
              <a:defRPr sz="1400"/>
            </a:lvl3pPr>
            <a:lvl4pPr marL="182563" indent="-182563">
              <a:lnSpc>
                <a:spcPct val="100000"/>
              </a:lnSpc>
              <a:spcAft>
                <a:spcPts val="640"/>
              </a:spcAft>
              <a:defRPr sz="1400"/>
            </a:lvl4pPr>
            <a:lvl5pPr marL="182563" indent="-182563">
              <a:lnSpc>
                <a:spcPct val="100000"/>
              </a:lnSpc>
              <a:spcAft>
                <a:spcPts val="640"/>
              </a:spcAft>
              <a:defRPr sz="1400"/>
            </a:lvl5pPr>
            <a:lvl6pPr marL="182563" indent="-182563">
              <a:lnSpc>
                <a:spcPct val="100000"/>
              </a:lnSpc>
              <a:spcAft>
                <a:spcPts val="640"/>
              </a:spcAft>
              <a:defRPr sz="1400"/>
            </a:lvl6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FF8B9BB-ED10-484A-82E9-4185D709A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015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AEDFAC-FFCE-4C92-991A-5F5F0DDDBF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82AFFC-FECF-480B-9A4A-8AF29377C6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DC975F1-C8F1-47FA-A6DD-8BDABAB9AC5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2759140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CF8859C-A78F-49CC-83B9-712C5B8D3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00750" y="0"/>
            <a:ext cx="3143250" cy="4324909"/>
          </a:xfrm>
          <a:custGeom>
            <a:avLst/>
            <a:gdLst>
              <a:gd name="connsiteX0" fmla="*/ 0 w 3143250"/>
              <a:gd name="connsiteY0" fmla="*/ 0 h 4324909"/>
              <a:gd name="connsiteX1" fmla="*/ 3143250 w 3143250"/>
              <a:gd name="connsiteY1" fmla="*/ 0 h 4324909"/>
              <a:gd name="connsiteX2" fmla="*/ 3143250 w 3143250"/>
              <a:gd name="connsiteY2" fmla="*/ 30722 h 4324909"/>
              <a:gd name="connsiteX3" fmla="*/ 3143250 w 3143250"/>
              <a:gd name="connsiteY3" fmla="*/ 420852 h 4324909"/>
              <a:gd name="connsiteX4" fmla="*/ 3143250 w 3143250"/>
              <a:gd name="connsiteY4" fmla="*/ 786607 h 4324909"/>
              <a:gd name="connsiteX5" fmla="*/ 3143250 w 3143250"/>
              <a:gd name="connsiteY5" fmla="*/ 987278 h 4324909"/>
              <a:gd name="connsiteX6" fmla="*/ 3143250 w 3143250"/>
              <a:gd name="connsiteY6" fmla="*/ 1128774 h 4324909"/>
              <a:gd name="connsiteX7" fmla="*/ 3143250 w 3143250"/>
              <a:gd name="connsiteY7" fmla="*/ 1448139 h 4324909"/>
              <a:gd name="connsiteX8" fmla="*/ 3143250 w 3143250"/>
              <a:gd name="connsiteY8" fmla="*/ 1745487 h 4324909"/>
              <a:gd name="connsiteX9" fmla="*/ 3143250 w 3143250"/>
              <a:gd name="connsiteY9" fmla="*/ 2021606 h 4324909"/>
              <a:gd name="connsiteX10" fmla="*/ 3143250 w 3143250"/>
              <a:gd name="connsiteY10" fmla="*/ 2277281 h 4324909"/>
              <a:gd name="connsiteX11" fmla="*/ 3143250 w 3143250"/>
              <a:gd name="connsiteY11" fmla="*/ 2513299 h 4324909"/>
              <a:gd name="connsiteX12" fmla="*/ 3143250 w 3143250"/>
              <a:gd name="connsiteY12" fmla="*/ 2730445 h 4324909"/>
              <a:gd name="connsiteX13" fmla="*/ 3143250 w 3143250"/>
              <a:gd name="connsiteY13" fmla="*/ 2929508 h 4324909"/>
              <a:gd name="connsiteX14" fmla="*/ 3143250 w 3143250"/>
              <a:gd name="connsiteY14" fmla="*/ 3111272 h 4324909"/>
              <a:gd name="connsiteX15" fmla="*/ 3143250 w 3143250"/>
              <a:gd name="connsiteY15" fmla="*/ 3276523 h 4324909"/>
              <a:gd name="connsiteX16" fmla="*/ 3143250 w 3143250"/>
              <a:gd name="connsiteY16" fmla="*/ 3426049 h 4324909"/>
              <a:gd name="connsiteX17" fmla="*/ 3143250 w 3143250"/>
              <a:gd name="connsiteY17" fmla="*/ 3560636 h 4324909"/>
              <a:gd name="connsiteX18" fmla="*/ 3143250 w 3143250"/>
              <a:gd name="connsiteY18" fmla="*/ 3681069 h 4324909"/>
              <a:gd name="connsiteX19" fmla="*/ 3143250 w 3143250"/>
              <a:gd name="connsiteY19" fmla="*/ 3788136 h 4324909"/>
              <a:gd name="connsiteX20" fmla="*/ 3143250 w 3143250"/>
              <a:gd name="connsiteY20" fmla="*/ 3882621 h 4324909"/>
              <a:gd name="connsiteX21" fmla="*/ 3143250 w 3143250"/>
              <a:gd name="connsiteY21" fmla="*/ 3965313 h 4324909"/>
              <a:gd name="connsiteX22" fmla="*/ 3143250 w 3143250"/>
              <a:gd name="connsiteY22" fmla="*/ 4036996 h 4324909"/>
              <a:gd name="connsiteX23" fmla="*/ 3143250 w 3143250"/>
              <a:gd name="connsiteY23" fmla="*/ 4098458 h 4324909"/>
              <a:gd name="connsiteX24" fmla="*/ 3143250 w 3143250"/>
              <a:gd name="connsiteY24" fmla="*/ 4193861 h 4324909"/>
              <a:gd name="connsiteX25" fmla="*/ 3143250 w 3143250"/>
              <a:gd name="connsiteY25" fmla="*/ 4257813 h 4324909"/>
              <a:gd name="connsiteX26" fmla="*/ 3143250 w 3143250"/>
              <a:gd name="connsiteY26" fmla="*/ 4296603 h 4324909"/>
              <a:gd name="connsiteX27" fmla="*/ 3143250 w 3143250"/>
              <a:gd name="connsiteY27" fmla="*/ 4316522 h 4324909"/>
              <a:gd name="connsiteX28" fmla="*/ 3143250 w 3143250"/>
              <a:gd name="connsiteY28" fmla="*/ 4323861 h 4324909"/>
              <a:gd name="connsiteX29" fmla="*/ 3143250 w 3143250"/>
              <a:gd name="connsiteY29" fmla="*/ 4324909 h 4324909"/>
              <a:gd name="connsiteX30" fmla="*/ 2967203 w 3143250"/>
              <a:gd name="connsiteY30" fmla="*/ 4324909 h 4324909"/>
              <a:gd name="connsiteX31" fmla="*/ 2813131 w 3143250"/>
              <a:gd name="connsiteY31" fmla="*/ 4324909 h 4324909"/>
              <a:gd name="connsiteX32" fmla="*/ 2679569 w 3143250"/>
              <a:gd name="connsiteY32" fmla="*/ 4324909 h 4324909"/>
              <a:gd name="connsiteX33" fmla="*/ 2565053 w 3143250"/>
              <a:gd name="connsiteY33" fmla="*/ 4324909 h 4324909"/>
              <a:gd name="connsiteX34" fmla="*/ 2468117 w 3143250"/>
              <a:gd name="connsiteY34" fmla="*/ 4324909 h 4324909"/>
              <a:gd name="connsiteX35" fmla="*/ 2387296 w 3143250"/>
              <a:gd name="connsiteY35" fmla="*/ 4324909 h 4324909"/>
              <a:gd name="connsiteX36" fmla="*/ 2321126 w 3143250"/>
              <a:gd name="connsiteY36" fmla="*/ 4324909 h 4324909"/>
              <a:gd name="connsiteX37" fmla="*/ 2268141 w 3143250"/>
              <a:gd name="connsiteY37" fmla="*/ 4324909 h 4324909"/>
              <a:gd name="connsiteX38" fmla="*/ 2226876 w 3143250"/>
              <a:gd name="connsiteY38" fmla="*/ 4324909 h 4324909"/>
              <a:gd name="connsiteX39" fmla="*/ 2195866 w 3143250"/>
              <a:gd name="connsiteY39" fmla="*/ 4324909 h 4324909"/>
              <a:gd name="connsiteX40" fmla="*/ 2173647 w 3143250"/>
              <a:gd name="connsiteY40" fmla="*/ 4324909 h 4324909"/>
              <a:gd name="connsiteX41" fmla="*/ 2158752 w 3143250"/>
              <a:gd name="connsiteY41" fmla="*/ 4324909 h 4324909"/>
              <a:gd name="connsiteX42" fmla="*/ 2145079 w 3143250"/>
              <a:gd name="connsiteY42" fmla="*/ 4324909 h 4324909"/>
              <a:gd name="connsiteX43" fmla="*/ 2143125 w 3143250"/>
              <a:gd name="connsiteY43" fmla="*/ 4324909 h 4324909"/>
              <a:gd name="connsiteX44" fmla="*/ 0 w 3143250"/>
              <a:gd name="connsiteY44" fmla="*/ 2092027 h 4324909"/>
              <a:gd name="connsiteX45" fmla="*/ 0 w 3143250"/>
              <a:gd name="connsiteY45" fmla="*/ 1904755 h 4324909"/>
              <a:gd name="connsiteX46" fmla="*/ 0 w 3143250"/>
              <a:gd name="connsiteY46" fmla="*/ 1729184 h 4324909"/>
              <a:gd name="connsiteX47" fmla="*/ 0 w 3143250"/>
              <a:gd name="connsiteY47" fmla="*/ 1564937 h 4324909"/>
              <a:gd name="connsiteX48" fmla="*/ 0 w 3143250"/>
              <a:gd name="connsiteY48" fmla="*/ 1411635 h 4324909"/>
              <a:gd name="connsiteX49" fmla="*/ 0 w 3143250"/>
              <a:gd name="connsiteY49" fmla="*/ 1268901 h 4324909"/>
              <a:gd name="connsiteX50" fmla="*/ 0 w 3143250"/>
              <a:gd name="connsiteY50" fmla="*/ 1136358 h 4324909"/>
              <a:gd name="connsiteX51" fmla="*/ 0 w 3143250"/>
              <a:gd name="connsiteY51" fmla="*/ 987278 h 4324909"/>
              <a:gd name="connsiteX52" fmla="*/ 0 w 3143250"/>
              <a:gd name="connsiteY52" fmla="*/ 900334 h 4324909"/>
              <a:gd name="connsiteX53" fmla="*/ 0 w 3143250"/>
              <a:gd name="connsiteY53" fmla="*/ 700545 h 4324909"/>
              <a:gd name="connsiteX54" fmla="*/ 0 w 3143250"/>
              <a:gd name="connsiteY54" fmla="*/ 533969 h 4324909"/>
              <a:gd name="connsiteX55" fmla="*/ 0 w 3143250"/>
              <a:gd name="connsiteY55" fmla="*/ 397589 h 4324909"/>
              <a:gd name="connsiteX56" fmla="*/ 0 w 3143250"/>
              <a:gd name="connsiteY56" fmla="*/ 288384 h 4324909"/>
              <a:gd name="connsiteX57" fmla="*/ 0 w 3143250"/>
              <a:gd name="connsiteY57" fmla="*/ 203335 h 4324909"/>
              <a:gd name="connsiteX58" fmla="*/ 0 w 3143250"/>
              <a:gd name="connsiteY58" fmla="*/ 139423 h 4324909"/>
              <a:gd name="connsiteX59" fmla="*/ 0 w 3143250"/>
              <a:gd name="connsiteY59" fmla="*/ 93627 h 4324909"/>
              <a:gd name="connsiteX60" fmla="*/ 0 w 3143250"/>
              <a:gd name="connsiteY60" fmla="*/ 62929 h 4324909"/>
              <a:gd name="connsiteX61" fmla="*/ 0 w 3143250"/>
              <a:gd name="connsiteY61" fmla="*/ 44309 h 4324909"/>
              <a:gd name="connsiteX62" fmla="*/ 0 w 3143250"/>
              <a:gd name="connsiteY62" fmla="*/ 34747 h 4324909"/>
              <a:gd name="connsiteX63" fmla="*/ 0 w 3143250"/>
              <a:gd name="connsiteY63" fmla="*/ 30722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143250" h="4324909">
                <a:moveTo>
                  <a:pt x="0" y="0"/>
                </a:moveTo>
                <a:lnTo>
                  <a:pt x="3143250" y="0"/>
                </a:lnTo>
                <a:lnTo>
                  <a:pt x="3143250" y="30722"/>
                </a:lnTo>
                <a:lnTo>
                  <a:pt x="3143250" y="420852"/>
                </a:lnTo>
                <a:lnTo>
                  <a:pt x="3143250" y="786607"/>
                </a:lnTo>
                <a:lnTo>
                  <a:pt x="3143250" y="987278"/>
                </a:lnTo>
                <a:lnTo>
                  <a:pt x="3143250" y="1128774"/>
                </a:lnTo>
                <a:lnTo>
                  <a:pt x="3143250" y="1448139"/>
                </a:lnTo>
                <a:lnTo>
                  <a:pt x="3143250" y="1745487"/>
                </a:lnTo>
                <a:lnTo>
                  <a:pt x="3143250" y="2021606"/>
                </a:lnTo>
                <a:lnTo>
                  <a:pt x="3143250" y="2277281"/>
                </a:lnTo>
                <a:lnTo>
                  <a:pt x="3143250" y="2513299"/>
                </a:lnTo>
                <a:lnTo>
                  <a:pt x="3143250" y="2730445"/>
                </a:lnTo>
                <a:lnTo>
                  <a:pt x="3143250" y="2929508"/>
                </a:lnTo>
                <a:lnTo>
                  <a:pt x="3143250" y="3111272"/>
                </a:lnTo>
                <a:lnTo>
                  <a:pt x="3143250" y="3276523"/>
                </a:lnTo>
                <a:lnTo>
                  <a:pt x="3143250" y="3426049"/>
                </a:lnTo>
                <a:lnTo>
                  <a:pt x="3143250" y="3560636"/>
                </a:lnTo>
                <a:lnTo>
                  <a:pt x="3143250" y="3681069"/>
                </a:lnTo>
                <a:lnTo>
                  <a:pt x="3143250" y="3788136"/>
                </a:lnTo>
                <a:lnTo>
                  <a:pt x="3143250" y="3882621"/>
                </a:lnTo>
                <a:lnTo>
                  <a:pt x="3143250" y="3965313"/>
                </a:lnTo>
                <a:lnTo>
                  <a:pt x="3143250" y="4036996"/>
                </a:lnTo>
                <a:lnTo>
                  <a:pt x="3143250" y="4098458"/>
                </a:lnTo>
                <a:lnTo>
                  <a:pt x="3143250" y="4193861"/>
                </a:lnTo>
                <a:lnTo>
                  <a:pt x="3143250" y="4257813"/>
                </a:lnTo>
                <a:lnTo>
                  <a:pt x="3143250" y="4296603"/>
                </a:lnTo>
                <a:lnTo>
                  <a:pt x="3143250" y="4316522"/>
                </a:lnTo>
                <a:lnTo>
                  <a:pt x="3143250" y="4323861"/>
                </a:lnTo>
                <a:lnTo>
                  <a:pt x="3143250" y="4324909"/>
                </a:lnTo>
                <a:lnTo>
                  <a:pt x="2967203" y="4324909"/>
                </a:lnTo>
                <a:lnTo>
                  <a:pt x="2813131" y="4324909"/>
                </a:lnTo>
                <a:lnTo>
                  <a:pt x="2679569" y="4324909"/>
                </a:lnTo>
                <a:lnTo>
                  <a:pt x="2565053" y="4324909"/>
                </a:lnTo>
                <a:lnTo>
                  <a:pt x="2468117" y="4324909"/>
                </a:lnTo>
                <a:lnTo>
                  <a:pt x="2387296" y="4324909"/>
                </a:lnTo>
                <a:lnTo>
                  <a:pt x="2321126" y="4324909"/>
                </a:lnTo>
                <a:lnTo>
                  <a:pt x="2268141" y="4324909"/>
                </a:lnTo>
                <a:lnTo>
                  <a:pt x="2226876" y="4324909"/>
                </a:lnTo>
                <a:lnTo>
                  <a:pt x="2195866" y="4324909"/>
                </a:lnTo>
                <a:lnTo>
                  <a:pt x="2173647" y="4324909"/>
                </a:lnTo>
                <a:lnTo>
                  <a:pt x="2158752" y="4324909"/>
                </a:lnTo>
                <a:lnTo>
                  <a:pt x="2145079" y="4324909"/>
                </a:lnTo>
                <a:lnTo>
                  <a:pt x="2143125" y="4324909"/>
                </a:lnTo>
                <a:cubicBezTo>
                  <a:pt x="703660" y="4324909"/>
                  <a:pt x="0" y="3203702"/>
                  <a:pt x="0" y="2092027"/>
                </a:cubicBezTo>
                <a:lnTo>
                  <a:pt x="0" y="1904755"/>
                </a:lnTo>
                <a:lnTo>
                  <a:pt x="0" y="1729184"/>
                </a:lnTo>
                <a:lnTo>
                  <a:pt x="0" y="1564937"/>
                </a:lnTo>
                <a:lnTo>
                  <a:pt x="0" y="1411635"/>
                </a:lnTo>
                <a:lnTo>
                  <a:pt x="0" y="1268901"/>
                </a:lnTo>
                <a:lnTo>
                  <a:pt x="0" y="1136358"/>
                </a:lnTo>
                <a:lnTo>
                  <a:pt x="0" y="987278"/>
                </a:lnTo>
                <a:lnTo>
                  <a:pt x="0" y="900334"/>
                </a:lnTo>
                <a:lnTo>
                  <a:pt x="0" y="700545"/>
                </a:lnTo>
                <a:lnTo>
                  <a:pt x="0" y="533969"/>
                </a:lnTo>
                <a:lnTo>
                  <a:pt x="0" y="397589"/>
                </a:lnTo>
                <a:lnTo>
                  <a:pt x="0" y="288384"/>
                </a:lnTo>
                <a:lnTo>
                  <a:pt x="0" y="203335"/>
                </a:lnTo>
                <a:lnTo>
                  <a:pt x="0" y="139423"/>
                </a:lnTo>
                <a:lnTo>
                  <a:pt x="0" y="93627"/>
                </a:lnTo>
                <a:lnTo>
                  <a:pt x="0" y="62929"/>
                </a:lnTo>
                <a:lnTo>
                  <a:pt x="0" y="44309"/>
                </a:lnTo>
                <a:lnTo>
                  <a:pt x="0" y="34747"/>
                </a:lnTo>
                <a:lnTo>
                  <a:pt x="0" y="30722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9C56AD-5771-4CF9-A68F-341084E1F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6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1F36FD7-BCFF-4C99-8A08-33CBD188545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786B9FB-5D60-4AFF-B4EB-69AF616FFA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AE2B1A-B183-4A05-B71F-34CAC5CE82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879C02-3E28-4BE8-8B42-0914AEB41E4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890320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6A732E5-BF02-4659-9CB4-11687D931C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18437" y="0"/>
            <a:ext cx="4425563" cy="4324909"/>
          </a:xfrm>
          <a:custGeom>
            <a:avLst/>
            <a:gdLst>
              <a:gd name="connsiteX0" fmla="*/ 0 w 4425563"/>
              <a:gd name="connsiteY0" fmla="*/ 0 h 4324909"/>
              <a:gd name="connsiteX1" fmla="*/ 4425562 w 4425563"/>
              <a:gd name="connsiteY1" fmla="*/ 0 h 4324909"/>
              <a:gd name="connsiteX2" fmla="*/ 4425562 w 4425563"/>
              <a:gd name="connsiteY2" fmla="*/ 40909 h 4324909"/>
              <a:gd name="connsiteX3" fmla="*/ 4425563 w 4425563"/>
              <a:gd name="connsiteY3" fmla="*/ 40909 h 4324909"/>
              <a:gd name="connsiteX4" fmla="*/ 4425563 w 4425563"/>
              <a:gd name="connsiteY4" fmla="*/ 430114 h 4324909"/>
              <a:gd name="connsiteX5" fmla="*/ 4425563 w 4425563"/>
              <a:gd name="connsiteY5" fmla="*/ 795002 h 4324909"/>
              <a:gd name="connsiteX6" fmla="*/ 4425563 w 4425563"/>
              <a:gd name="connsiteY6" fmla="*/ 1136357 h 4324909"/>
              <a:gd name="connsiteX7" fmla="*/ 4425563 w 4425563"/>
              <a:gd name="connsiteY7" fmla="*/ 1454964 h 4324909"/>
              <a:gd name="connsiteX8" fmla="*/ 4425563 w 4425563"/>
              <a:gd name="connsiteY8" fmla="*/ 1751607 h 4324909"/>
              <a:gd name="connsiteX9" fmla="*/ 4425563 w 4425563"/>
              <a:gd name="connsiteY9" fmla="*/ 2027070 h 4324909"/>
              <a:gd name="connsiteX10" fmla="*/ 4425563 w 4425563"/>
              <a:gd name="connsiteY10" fmla="*/ 2282139 h 4324909"/>
              <a:gd name="connsiteX11" fmla="*/ 4425563 w 4425563"/>
              <a:gd name="connsiteY11" fmla="*/ 2517597 h 4324909"/>
              <a:gd name="connsiteX12" fmla="*/ 4425563 w 4425563"/>
              <a:gd name="connsiteY12" fmla="*/ 2734228 h 4324909"/>
              <a:gd name="connsiteX13" fmla="*/ 4425563 w 4425563"/>
              <a:gd name="connsiteY13" fmla="*/ 2932818 h 4324909"/>
              <a:gd name="connsiteX14" fmla="*/ 4425563 w 4425563"/>
              <a:gd name="connsiteY14" fmla="*/ 3114151 h 4324909"/>
              <a:gd name="connsiteX15" fmla="*/ 4425563 w 4425563"/>
              <a:gd name="connsiteY15" fmla="*/ 3279011 h 4324909"/>
              <a:gd name="connsiteX16" fmla="*/ 4425563 w 4425563"/>
              <a:gd name="connsiteY16" fmla="*/ 3428182 h 4324909"/>
              <a:gd name="connsiteX17" fmla="*/ 4425563 w 4425563"/>
              <a:gd name="connsiteY17" fmla="*/ 3562449 h 4324909"/>
              <a:gd name="connsiteX18" fmla="*/ 4425563 w 4425563"/>
              <a:gd name="connsiteY18" fmla="*/ 3682597 h 4324909"/>
              <a:gd name="connsiteX19" fmla="*/ 4425563 w 4425563"/>
              <a:gd name="connsiteY19" fmla="*/ 3789409 h 4324909"/>
              <a:gd name="connsiteX20" fmla="*/ 4425563 w 4425563"/>
              <a:gd name="connsiteY20" fmla="*/ 3883671 h 4324909"/>
              <a:gd name="connsiteX21" fmla="*/ 4425563 w 4425563"/>
              <a:gd name="connsiteY21" fmla="*/ 3966166 h 4324909"/>
              <a:gd name="connsiteX22" fmla="*/ 4425563 w 4425563"/>
              <a:gd name="connsiteY22" fmla="*/ 4037679 h 4324909"/>
              <a:gd name="connsiteX23" fmla="*/ 4425563 w 4425563"/>
              <a:gd name="connsiteY23" fmla="*/ 4098995 h 4324909"/>
              <a:gd name="connsiteX24" fmla="*/ 4425563 w 4425563"/>
              <a:gd name="connsiteY24" fmla="*/ 4150898 h 4324909"/>
              <a:gd name="connsiteX25" fmla="*/ 4425563 w 4425563"/>
              <a:gd name="connsiteY25" fmla="*/ 4194172 h 4324909"/>
              <a:gd name="connsiteX26" fmla="*/ 4425563 w 4425563"/>
              <a:gd name="connsiteY26" fmla="*/ 4229602 h 4324909"/>
              <a:gd name="connsiteX27" fmla="*/ 4425563 w 4425563"/>
              <a:gd name="connsiteY27" fmla="*/ 4257972 h 4324909"/>
              <a:gd name="connsiteX28" fmla="*/ 4425563 w 4425563"/>
              <a:gd name="connsiteY28" fmla="*/ 4296670 h 4324909"/>
              <a:gd name="connsiteX29" fmla="*/ 4425563 w 4425563"/>
              <a:gd name="connsiteY29" fmla="*/ 4316542 h 4324909"/>
              <a:gd name="connsiteX30" fmla="*/ 4425563 w 4425563"/>
              <a:gd name="connsiteY30" fmla="*/ 4323863 h 4324909"/>
              <a:gd name="connsiteX31" fmla="*/ 4425563 w 4425563"/>
              <a:gd name="connsiteY31" fmla="*/ 4324909 h 4324909"/>
              <a:gd name="connsiteX32" fmla="*/ 2042568 w 4425563"/>
              <a:gd name="connsiteY32" fmla="*/ 4324909 h 4324909"/>
              <a:gd name="connsiteX33" fmla="*/ 0 w 4425563"/>
              <a:gd name="connsiteY33" fmla="*/ 2097324 h 4324909"/>
              <a:gd name="connsiteX34" fmla="*/ 0 w 4425563"/>
              <a:gd name="connsiteY34" fmla="*/ 1021484 h 4324909"/>
              <a:gd name="connsiteX35" fmla="*/ 0 w 4425563"/>
              <a:gd name="connsiteY35" fmla="*/ 987278 h 4324909"/>
              <a:gd name="connsiteX36" fmla="*/ 0 w 4425563"/>
              <a:gd name="connsiteY36" fmla="*/ 908459 h 4324909"/>
              <a:gd name="connsiteX37" fmla="*/ 0 w 4425563"/>
              <a:gd name="connsiteY37" fmla="*/ 40909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425563" h="4324909">
                <a:moveTo>
                  <a:pt x="0" y="0"/>
                </a:moveTo>
                <a:lnTo>
                  <a:pt x="4425562" y="0"/>
                </a:lnTo>
                <a:lnTo>
                  <a:pt x="4425562" y="40909"/>
                </a:lnTo>
                <a:lnTo>
                  <a:pt x="4425563" y="40909"/>
                </a:lnTo>
                <a:lnTo>
                  <a:pt x="4425563" y="430114"/>
                </a:lnTo>
                <a:lnTo>
                  <a:pt x="4425563" y="795002"/>
                </a:lnTo>
                <a:lnTo>
                  <a:pt x="4425563" y="1136357"/>
                </a:lnTo>
                <a:lnTo>
                  <a:pt x="4425563" y="1454964"/>
                </a:lnTo>
                <a:lnTo>
                  <a:pt x="4425563" y="1751607"/>
                </a:lnTo>
                <a:lnTo>
                  <a:pt x="4425563" y="2027070"/>
                </a:lnTo>
                <a:lnTo>
                  <a:pt x="4425563" y="2282139"/>
                </a:lnTo>
                <a:lnTo>
                  <a:pt x="4425563" y="2517597"/>
                </a:lnTo>
                <a:lnTo>
                  <a:pt x="4425563" y="2734228"/>
                </a:lnTo>
                <a:lnTo>
                  <a:pt x="4425563" y="2932818"/>
                </a:lnTo>
                <a:lnTo>
                  <a:pt x="4425563" y="3114151"/>
                </a:lnTo>
                <a:lnTo>
                  <a:pt x="4425563" y="3279011"/>
                </a:lnTo>
                <a:lnTo>
                  <a:pt x="4425563" y="3428182"/>
                </a:lnTo>
                <a:lnTo>
                  <a:pt x="4425563" y="3562449"/>
                </a:lnTo>
                <a:lnTo>
                  <a:pt x="4425563" y="3682597"/>
                </a:lnTo>
                <a:lnTo>
                  <a:pt x="4425563" y="3789409"/>
                </a:lnTo>
                <a:lnTo>
                  <a:pt x="4425563" y="3883671"/>
                </a:lnTo>
                <a:lnTo>
                  <a:pt x="4425563" y="3966166"/>
                </a:lnTo>
                <a:lnTo>
                  <a:pt x="4425563" y="4037679"/>
                </a:lnTo>
                <a:lnTo>
                  <a:pt x="4425563" y="4098995"/>
                </a:lnTo>
                <a:lnTo>
                  <a:pt x="4425563" y="4150898"/>
                </a:lnTo>
                <a:lnTo>
                  <a:pt x="4425563" y="4194172"/>
                </a:lnTo>
                <a:lnTo>
                  <a:pt x="4425563" y="4229602"/>
                </a:lnTo>
                <a:lnTo>
                  <a:pt x="4425563" y="4257972"/>
                </a:lnTo>
                <a:lnTo>
                  <a:pt x="4425563" y="4296670"/>
                </a:lnTo>
                <a:lnTo>
                  <a:pt x="4425563" y="4316542"/>
                </a:lnTo>
                <a:lnTo>
                  <a:pt x="4425563" y="4323863"/>
                </a:lnTo>
                <a:lnTo>
                  <a:pt x="4425563" y="4324909"/>
                </a:lnTo>
                <a:cubicBezTo>
                  <a:pt x="2042568" y="4324909"/>
                  <a:pt x="2042568" y="4324909"/>
                  <a:pt x="2042568" y="4324909"/>
                </a:cubicBezTo>
                <a:cubicBezTo>
                  <a:pt x="670643" y="4324909"/>
                  <a:pt x="0" y="3206362"/>
                  <a:pt x="0" y="2097324"/>
                </a:cubicBezTo>
                <a:cubicBezTo>
                  <a:pt x="0" y="1647483"/>
                  <a:pt x="0" y="1296045"/>
                  <a:pt x="0" y="1021484"/>
                </a:cubicBezTo>
                <a:lnTo>
                  <a:pt x="0" y="987278"/>
                </a:lnTo>
                <a:lnTo>
                  <a:pt x="0" y="908459"/>
                </a:lnTo>
                <a:cubicBezTo>
                  <a:pt x="0" y="40909"/>
                  <a:pt x="0" y="40909"/>
                  <a:pt x="0" y="40909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BADEFA-117E-44BF-BF4A-B0F82B0E2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41148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0440345F-54DD-41C0-8786-64E0F3DDF229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7F0C727-DAC5-4684-A9F4-3D9E744367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65142C-9A97-4E32-87A5-5F4864FA96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59E4831-161A-4F57-8ABC-DE2D118C180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15108743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5D4EF-BDFA-4128-9A87-B24D34C4C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A3325B-ACE4-4266-B882-DEF599996D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FD17BA-537D-4E51-BCDA-FCCEFC719E4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55CBC46-534A-48EB-AA4B-7D627B5744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41EDB15-4BF2-4F60-8C8C-E9BBDB2376A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6633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6D852D-B696-41D4-982F-595712C6D66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245400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4932536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1A5A218-1A44-4771-B025-B3F321A2A57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7FBC4B26-6325-4F76-8B72-9707ADBAEA9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4" name="Line 147">
                <a:extLst>
                  <a:ext uri="{FF2B5EF4-FFF2-40B4-BE49-F238E27FC236}">
                    <a16:creationId xmlns:a16="http://schemas.microsoft.com/office/drawing/2014/main" id="{33BD8805-637F-476F-8C7B-376AB3A054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49">
                <a:extLst>
                  <a:ext uri="{FF2B5EF4-FFF2-40B4-BE49-F238E27FC236}">
                    <a16:creationId xmlns:a16="http://schemas.microsoft.com/office/drawing/2014/main" id="{E84FE883-3101-430C-9E4A-18C7BDD54B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1">
                <a:extLst>
                  <a:ext uri="{FF2B5EF4-FFF2-40B4-BE49-F238E27FC236}">
                    <a16:creationId xmlns:a16="http://schemas.microsoft.com/office/drawing/2014/main" id="{D6066621-C35F-4216-BD95-43E32E3D5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3">
                <a:extLst>
                  <a:ext uri="{FF2B5EF4-FFF2-40B4-BE49-F238E27FC236}">
                    <a16:creationId xmlns:a16="http://schemas.microsoft.com/office/drawing/2014/main" id="{BCCA3342-02E8-4312-B595-9026CF33FB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5">
                <a:extLst>
                  <a:ext uri="{FF2B5EF4-FFF2-40B4-BE49-F238E27FC236}">
                    <a16:creationId xmlns:a16="http://schemas.microsoft.com/office/drawing/2014/main" id="{BB470B44-1E10-4C56-95BA-9FB2EF7AA1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57">
                <a:extLst>
                  <a:ext uri="{FF2B5EF4-FFF2-40B4-BE49-F238E27FC236}">
                    <a16:creationId xmlns:a16="http://schemas.microsoft.com/office/drawing/2014/main" id="{A5F215C8-9E2C-4B88-9061-7ED246DDDA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9">
                <a:extLst>
                  <a:ext uri="{FF2B5EF4-FFF2-40B4-BE49-F238E27FC236}">
                    <a16:creationId xmlns:a16="http://schemas.microsoft.com/office/drawing/2014/main" id="{45AA13FA-F47F-4253-A368-B3E8076AA5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1">
                <a:extLst>
                  <a:ext uri="{FF2B5EF4-FFF2-40B4-BE49-F238E27FC236}">
                    <a16:creationId xmlns:a16="http://schemas.microsoft.com/office/drawing/2014/main" id="{DA323CAB-11BD-48F5-8822-DBAC9138E3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3">
                <a:extLst>
                  <a:ext uri="{FF2B5EF4-FFF2-40B4-BE49-F238E27FC236}">
                    <a16:creationId xmlns:a16="http://schemas.microsoft.com/office/drawing/2014/main" id="{47996004-1578-445E-A17D-C3E9B28DB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5">
                <a:extLst>
                  <a:ext uri="{FF2B5EF4-FFF2-40B4-BE49-F238E27FC236}">
                    <a16:creationId xmlns:a16="http://schemas.microsoft.com/office/drawing/2014/main" id="{08AA130B-0E0C-402A-8C4B-CE7AA0E72E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67">
                <a:extLst>
                  <a:ext uri="{FF2B5EF4-FFF2-40B4-BE49-F238E27FC236}">
                    <a16:creationId xmlns:a16="http://schemas.microsoft.com/office/drawing/2014/main" id="{253AB398-1176-4ACA-BA39-97C6BDBE3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9">
                <a:extLst>
                  <a:ext uri="{FF2B5EF4-FFF2-40B4-BE49-F238E27FC236}">
                    <a16:creationId xmlns:a16="http://schemas.microsoft.com/office/drawing/2014/main" id="{DCA80C32-57FA-42D0-ADC8-91CC8526F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1">
                <a:extLst>
                  <a:ext uri="{FF2B5EF4-FFF2-40B4-BE49-F238E27FC236}">
                    <a16:creationId xmlns:a16="http://schemas.microsoft.com/office/drawing/2014/main" id="{A55206A1-7276-4B7D-960D-A3B1B108B6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3">
                <a:extLst>
                  <a:ext uri="{FF2B5EF4-FFF2-40B4-BE49-F238E27FC236}">
                    <a16:creationId xmlns:a16="http://schemas.microsoft.com/office/drawing/2014/main" id="{73327856-3E69-4B29-AC4B-4A530F48D0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5">
                <a:extLst>
                  <a:ext uri="{FF2B5EF4-FFF2-40B4-BE49-F238E27FC236}">
                    <a16:creationId xmlns:a16="http://schemas.microsoft.com/office/drawing/2014/main" id="{70D85AD0-AF89-4EBC-8B89-49E70936AF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77">
                <a:extLst>
                  <a:ext uri="{FF2B5EF4-FFF2-40B4-BE49-F238E27FC236}">
                    <a16:creationId xmlns:a16="http://schemas.microsoft.com/office/drawing/2014/main" id="{0BC5D7CC-3202-4C2F-8E50-04588F9934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9">
                <a:extLst>
                  <a:ext uri="{FF2B5EF4-FFF2-40B4-BE49-F238E27FC236}">
                    <a16:creationId xmlns:a16="http://schemas.microsoft.com/office/drawing/2014/main" id="{577CA9CC-60E9-4C7C-B2AE-A8735B867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1">
                <a:extLst>
                  <a:ext uri="{FF2B5EF4-FFF2-40B4-BE49-F238E27FC236}">
                    <a16:creationId xmlns:a16="http://schemas.microsoft.com/office/drawing/2014/main" id="{986F1EE8-3606-455C-A655-E9BCF72B6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3">
                <a:extLst>
                  <a:ext uri="{FF2B5EF4-FFF2-40B4-BE49-F238E27FC236}">
                    <a16:creationId xmlns:a16="http://schemas.microsoft.com/office/drawing/2014/main" id="{75EAAD8E-5F8C-4F96-8335-41C4304DE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5">
                <a:extLst>
                  <a:ext uri="{FF2B5EF4-FFF2-40B4-BE49-F238E27FC236}">
                    <a16:creationId xmlns:a16="http://schemas.microsoft.com/office/drawing/2014/main" id="{361FDB6D-8C3F-4401-AB5D-1CCEC92A6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87">
                <a:extLst>
                  <a:ext uri="{FF2B5EF4-FFF2-40B4-BE49-F238E27FC236}">
                    <a16:creationId xmlns:a16="http://schemas.microsoft.com/office/drawing/2014/main" id="{0187B8D4-674A-4BCE-B466-E1E01ECAC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9">
                <a:extLst>
                  <a:ext uri="{FF2B5EF4-FFF2-40B4-BE49-F238E27FC236}">
                    <a16:creationId xmlns:a16="http://schemas.microsoft.com/office/drawing/2014/main" id="{A8A35824-FDE9-4B53-9648-EFC7B0DE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1">
                <a:extLst>
                  <a:ext uri="{FF2B5EF4-FFF2-40B4-BE49-F238E27FC236}">
                    <a16:creationId xmlns:a16="http://schemas.microsoft.com/office/drawing/2014/main" id="{81BBC67D-F4FB-4311-ABA7-15E532F70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3">
                <a:extLst>
                  <a:ext uri="{FF2B5EF4-FFF2-40B4-BE49-F238E27FC236}">
                    <a16:creationId xmlns:a16="http://schemas.microsoft.com/office/drawing/2014/main" id="{3C5114F0-A0F2-4421-9E54-2BF10D590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5">
                <a:extLst>
                  <a:ext uri="{FF2B5EF4-FFF2-40B4-BE49-F238E27FC236}">
                    <a16:creationId xmlns:a16="http://schemas.microsoft.com/office/drawing/2014/main" id="{BC1B8AA8-7262-49B9-BA31-7B6CAEA24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97">
                <a:extLst>
                  <a:ext uri="{FF2B5EF4-FFF2-40B4-BE49-F238E27FC236}">
                    <a16:creationId xmlns:a16="http://schemas.microsoft.com/office/drawing/2014/main" id="{DE181C1A-91E1-481B-9A30-5B147A7D1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9">
                <a:extLst>
                  <a:ext uri="{FF2B5EF4-FFF2-40B4-BE49-F238E27FC236}">
                    <a16:creationId xmlns:a16="http://schemas.microsoft.com/office/drawing/2014/main" id="{FBCD687E-B629-4D51-B114-6AD5D25267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1">
                <a:extLst>
                  <a:ext uri="{FF2B5EF4-FFF2-40B4-BE49-F238E27FC236}">
                    <a16:creationId xmlns:a16="http://schemas.microsoft.com/office/drawing/2014/main" id="{377113C1-FD74-4EEE-9277-9CE89774F3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3">
                <a:extLst>
                  <a:ext uri="{FF2B5EF4-FFF2-40B4-BE49-F238E27FC236}">
                    <a16:creationId xmlns:a16="http://schemas.microsoft.com/office/drawing/2014/main" id="{60F64EE0-5E14-4570-8162-16EF708AC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5">
                <a:extLst>
                  <a:ext uri="{FF2B5EF4-FFF2-40B4-BE49-F238E27FC236}">
                    <a16:creationId xmlns:a16="http://schemas.microsoft.com/office/drawing/2014/main" id="{2B8DFC20-4524-4D8A-96C1-25CE45DF44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07">
                <a:extLst>
                  <a:ext uri="{FF2B5EF4-FFF2-40B4-BE49-F238E27FC236}">
                    <a16:creationId xmlns:a16="http://schemas.microsoft.com/office/drawing/2014/main" id="{879E32D2-3EA3-4921-AA14-4F5990B1D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9">
                <a:extLst>
                  <a:ext uri="{FF2B5EF4-FFF2-40B4-BE49-F238E27FC236}">
                    <a16:creationId xmlns:a16="http://schemas.microsoft.com/office/drawing/2014/main" id="{755C62C7-B474-45B5-B386-04487EF283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1">
                <a:extLst>
                  <a:ext uri="{FF2B5EF4-FFF2-40B4-BE49-F238E27FC236}">
                    <a16:creationId xmlns:a16="http://schemas.microsoft.com/office/drawing/2014/main" id="{267C0BDC-C682-4DCC-92DA-ABE2D4F75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13">
                <a:extLst>
                  <a:ext uri="{FF2B5EF4-FFF2-40B4-BE49-F238E27FC236}">
                    <a16:creationId xmlns:a16="http://schemas.microsoft.com/office/drawing/2014/main" id="{69C8524E-3372-40F8-B9E1-295CE5A83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15">
                <a:extLst>
                  <a:ext uri="{FF2B5EF4-FFF2-40B4-BE49-F238E27FC236}">
                    <a16:creationId xmlns:a16="http://schemas.microsoft.com/office/drawing/2014/main" id="{2C2DFCD4-DC4A-491C-AF40-4928E86D35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17">
                <a:extLst>
                  <a:ext uri="{FF2B5EF4-FFF2-40B4-BE49-F238E27FC236}">
                    <a16:creationId xmlns:a16="http://schemas.microsoft.com/office/drawing/2014/main" id="{2B340DE4-3818-4814-9D33-29DD1FB58C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9">
                <a:extLst>
                  <a:ext uri="{FF2B5EF4-FFF2-40B4-BE49-F238E27FC236}">
                    <a16:creationId xmlns:a16="http://schemas.microsoft.com/office/drawing/2014/main" id="{71ED0EDA-240D-4856-8D92-AAAF8B3F38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21">
                <a:extLst>
                  <a:ext uri="{FF2B5EF4-FFF2-40B4-BE49-F238E27FC236}">
                    <a16:creationId xmlns:a16="http://schemas.microsoft.com/office/drawing/2014/main" id="{D2D2CE6D-3175-4B4E-B854-1861EE76A8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23">
                <a:extLst>
                  <a:ext uri="{FF2B5EF4-FFF2-40B4-BE49-F238E27FC236}">
                    <a16:creationId xmlns:a16="http://schemas.microsoft.com/office/drawing/2014/main" id="{2C8E626D-8BCF-4703-A6CE-4448243B3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25">
                <a:extLst>
                  <a:ext uri="{FF2B5EF4-FFF2-40B4-BE49-F238E27FC236}">
                    <a16:creationId xmlns:a16="http://schemas.microsoft.com/office/drawing/2014/main" id="{18F8F3FF-1191-4B66-99DB-6E26FF6A8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27">
                <a:extLst>
                  <a:ext uri="{FF2B5EF4-FFF2-40B4-BE49-F238E27FC236}">
                    <a16:creationId xmlns:a16="http://schemas.microsoft.com/office/drawing/2014/main" id="{06496A68-7111-4FB2-9B0F-9F1F23657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9">
                <a:extLst>
                  <a:ext uri="{FF2B5EF4-FFF2-40B4-BE49-F238E27FC236}">
                    <a16:creationId xmlns:a16="http://schemas.microsoft.com/office/drawing/2014/main" id="{BCF6DF1E-4483-41EA-99BE-C2F2EA4E52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F7F57188-0E5D-4A4F-B74D-FED036B55463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2" name="Line 146">
                <a:extLst>
                  <a:ext uri="{FF2B5EF4-FFF2-40B4-BE49-F238E27FC236}">
                    <a16:creationId xmlns:a16="http://schemas.microsoft.com/office/drawing/2014/main" id="{3BD99A3D-6A61-4D3D-89E6-2760BF6537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48">
                <a:extLst>
                  <a:ext uri="{FF2B5EF4-FFF2-40B4-BE49-F238E27FC236}">
                    <a16:creationId xmlns:a16="http://schemas.microsoft.com/office/drawing/2014/main" id="{EE443C75-1732-4BA0-9463-16C5012661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0">
                <a:extLst>
                  <a:ext uri="{FF2B5EF4-FFF2-40B4-BE49-F238E27FC236}">
                    <a16:creationId xmlns:a16="http://schemas.microsoft.com/office/drawing/2014/main" id="{CBFA5E4E-CA42-4F87-98E7-FE9400FB85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2">
                <a:extLst>
                  <a:ext uri="{FF2B5EF4-FFF2-40B4-BE49-F238E27FC236}">
                    <a16:creationId xmlns:a16="http://schemas.microsoft.com/office/drawing/2014/main" id="{EE7DA92B-88E2-4260-830F-F9AE436FE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4">
                <a:extLst>
                  <a:ext uri="{FF2B5EF4-FFF2-40B4-BE49-F238E27FC236}">
                    <a16:creationId xmlns:a16="http://schemas.microsoft.com/office/drawing/2014/main" id="{C2E2BC71-EE0B-4255-9587-CD217407CA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56">
                <a:extLst>
                  <a:ext uri="{FF2B5EF4-FFF2-40B4-BE49-F238E27FC236}">
                    <a16:creationId xmlns:a16="http://schemas.microsoft.com/office/drawing/2014/main" id="{DDC4629B-5589-44AE-8369-7F5A6CDF7E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8">
                <a:extLst>
                  <a:ext uri="{FF2B5EF4-FFF2-40B4-BE49-F238E27FC236}">
                    <a16:creationId xmlns:a16="http://schemas.microsoft.com/office/drawing/2014/main" id="{F9935B8A-C9AA-4CF1-8DFA-1933DE429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0">
                <a:extLst>
                  <a:ext uri="{FF2B5EF4-FFF2-40B4-BE49-F238E27FC236}">
                    <a16:creationId xmlns:a16="http://schemas.microsoft.com/office/drawing/2014/main" id="{9ABF14F9-8223-4D8A-B2A8-49CD7A54D3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2">
                <a:extLst>
                  <a:ext uri="{FF2B5EF4-FFF2-40B4-BE49-F238E27FC236}">
                    <a16:creationId xmlns:a16="http://schemas.microsoft.com/office/drawing/2014/main" id="{5639278B-2783-42E0-9A84-5EC86BB26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4">
                <a:extLst>
                  <a:ext uri="{FF2B5EF4-FFF2-40B4-BE49-F238E27FC236}">
                    <a16:creationId xmlns:a16="http://schemas.microsoft.com/office/drawing/2014/main" id="{0A5962AE-BC79-4805-BCBD-F995E38523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66">
                <a:extLst>
                  <a:ext uri="{FF2B5EF4-FFF2-40B4-BE49-F238E27FC236}">
                    <a16:creationId xmlns:a16="http://schemas.microsoft.com/office/drawing/2014/main" id="{757D4558-3DF8-4FE2-9840-D2025A3DD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8">
                <a:extLst>
                  <a:ext uri="{FF2B5EF4-FFF2-40B4-BE49-F238E27FC236}">
                    <a16:creationId xmlns:a16="http://schemas.microsoft.com/office/drawing/2014/main" id="{737C8F00-DA7F-4307-A11A-9CBCBB366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0">
                <a:extLst>
                  <a:ext uri="{FF2B5EF4-FFF2-40B4-BE49-F238E27FC236}">
                    <a16:creationId xmlns:a16="http://schemas.microsoft.com/office/drawing/2014/main" id="{200F2D00-94D0-4A5A-A68B-B1C1D3D022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2">
                <a:extLst>
                  <a:ext uri="{FF2B5EF4-FFF2-40B4-BE49-F238E27FC236}">
                    <a16:creationId xmlns:a16="http://schemas.microsoft.com/office/drawing/2014/main" id="{7D663080-6F8F-4D22-9C2D-8AB1DCDD7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4">
                <a:extLst>
                  <a:ext uri="{FF2B5EF4-FFF2-40B4-BE49-F238E27FC236}">
                    <a16:creationId xmlns:a16="http://schemas.microsoft.com/office/drawing/2014/main" id="{61BD8F7F-0410-494E-BAD5-A7A38B1A18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76">
                <a:extLst>
                  <a:ext uri="{FF2B5EF4-FFF2-40B4-BE49-F238E27FC236}">
                    <a16:creationId xmlns:a16="http://schemas.microsoft.com/office/drawing/2014/main" id="{E7FDCADD-6E74-46B8-B04E-9D7EA8E58A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8">
                <a:extLst>
                  <a:ext uri="{FF2B5EF4-FFF2-40B4-BE49-F238E27FC236}">
                    <a16:creationId xmlns:a16="http://schemas.microsoft.com/office/drawing/2014/main" id="{C0EC64F1-7044-4818-84E5-C2755344F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0">
                <a:extLst>
                  <a:ext uri="{FF2B5EF4-FFF2-40B4-BE49-F238E27FC236}">
                    <a16:creationId xmlns:a16="http://schemas.microsoft.com/office/drawing/2014/main" id="{C165C0BA-9AA3-47A7-BC00-4326851BA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2">
                <a:extLst>
                  <a:ext uri="{FF2B5EF4-FFF2-40B4-BE49-F238E27FC236}">
                    <a16:creationId xmlns:a16="http://schemas.microsoft.com/office/drawing/2014/main" id="{DFDC3DD7-F299-4D75-9ACB-B60081E2E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4">
                <a:extLst>
                  <a:ext uri="{FF2B5EF4-FFF2-40B4-BE49-F238E27FC236}">
                    <a16:creationId xmlns:a16="http://schemas.microsoft.com/office/drawing/2014/main" id="{29765696-F89E-49B5-9CF9-916D5F37A0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86">
                <a:extLst>
                  <a:ext uri="{FF2B5EF4-FFF2-40B4-BE49-F238E27FC236}">
                    <a16:creationId xmlns:a16="http://schemas.microsoft.com/office/drawing/2014/main" id="{CE213F27-489B-4BA6-AE13-D4DAD80D67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8">
                <a:extLst>
                  <a:ext uri="{FF2B5EF4-FFF2-40B4-BE49-F238E27FC236}">
                    <a16:creationId xmlns:a16="http://schemas.microsoft.com/office/drawing/2014/main" id="{86143110-E587-4BB8-A5F4-0FE9D7546F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0">
                <a:extLst>
                  <a:ext uri="{FF2B5EF4-FFF2-40B4-BE49-F238E27FC236}">
                    <a16:creationId xmlns:a16="http://schemas.microsoft.com/office/drawing/2014/main" id="{7C9D2E97-6F48-4BF4-B754-9A7E7577F9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2">
                <a:extLst>
                  <a:ext uri="{FF2B5EF4-FFF2-40B4-BE49-F238E27FC236}">
                    <a16:creationId xmlns:a16="http://schemas.microsoft.com/office/drawing/2014/main" id="{74E3EB58-7996-459A-97CB-D27706D60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4">
                <a:extLst>
                  <a:ext uri="{FF2B5EF4-FFF2-40B4-BE49-F238E27FC236}">
                    <a16:creationId xmlns:a16="http://schemas.microsoft.com/office/drawing/2014/main" id="{B7210231-EB26-4991-BEBC-36F79BF3D7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96">
                <a:extLst>
                  <a:ext uri="{FF2B5EF4-FFF2-40B4-BE49-F238E27FC236}">
                    <a16:creationId xmlns:a16="http://schemas.microsoft.com/office/drawing/2014/main" id="{BFA935FA-FC5B-4BB1-B881-E244F30B1A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8">
                <a:extLst>
                  <a:ext uri="{FF2B5EF4-FFF2-40B4-BE49-F238E27FC236}">
                    <a16:creationId xmlns:a16="http://schemas.microsoft.com/office/drawing/2014/main" id="{52026D4F-B591-40DB-BF05-81BC083622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0">
                <a:extLst>
                  <a:ext uri="{FF2B5EF4-FFF2-40B4-BE49-F238E27FC236}">
                    <a16:creationId xmlns:a16="http://schemas.microsoft.com/office/drawing/2014/main" id="{7E0A07B3-45BE-4B5A-82EA-397C26060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2">
                <a:extLst>
                  <a:ext uri="{FF2B5EF4-FFF2-40B4-BE49-F238E27FC236}">
                    <a16:creationId xmlns:a16="http://schemas.microsoft.com/office/drawing/2014/main" id="{FCDA26E4-F26F-495F-93E0-ABAA29854E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4">
                <a:extLst>
                  <a:ext uri="{FF2B5EF4-FFF2-40B4-BE49-F238E27FC236}">
                    <a16:creationId xmlns:a16="http://schemas.microsoft.com/office/drawing/2014/main" id="{369EA723-B281-4D34-B488-04B9A87F15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06">
                <a:extLst>
                  <a:ext uri="{FF2B5EF4-FFF2-40B4-BE49-F238E27FC236}">
                    <a16:creationId xmlns:a16="http://schemas.microsoft.com/office/drawing/2014/main" id="{8AB68464-4951-4F94-99CA-4583CFFCE3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8">
                <a:extLst>
                  <a:ext uri="{FF2B5EF4-FFF2-40B4-BE49-F238E27FC236}">
                    <a16:creationId xmlns:a16="http://schemas.microsoft.com/office/drawing/2014/main" id="{4A7AF6E3-35ED-4D78-9E5E-D2C21AD825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0">
                <a:extLst>
                  <a:ext uri="{FF2B5EF4-FFF2-40B4-BE49-F238E27FC236}">
                    <a16:creationId xmlns:a16="http://schemas.microsoft.com/office/drawing/2014/main" id="{83ED3961-E676-4011-9779-FFF1CAC8C4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2">
                <a:extLst>
                  <a:ext uri="{FF2B5EF4-FFF2-40B4-BE49-F238E27FC236}">
                    <a16:creationId xmlns:a16="http://schemas.microsoft.com/office/drawing/2014/main" id="{94811389-6665-4656-881F-23D8343192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4">
                <a:extLst>
                  <a:ext uri="{FF2B5EF4-FFF2-40B4-BE49-F238E27FC236}">
                    <a16:creationId xmlns:a16="http://schemas.microsoft.com/office/drawing/2014/main" id="{B59B6148-EC8F-4CF2-8272-5C6283263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16">
                <a:extLst>
                  <a:ext uri="{FF2B5EF4-FFF2-40B4-BE49-F238E27FC236}">
                    <a16:creationId xmlns:a16="http://schemas.microsoft.com/office/drawing/2014/main" id="{5BBF7CC0-B146-4D82-831C-A8A9BAC6C4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8">
                <a:extLst>
                  <a:ext uri="{FF2B5EF4-FFF2-40B4-BE49-F238E27FC236}">
                    <a16:creationId xmlns:a16="http://schemas.microsoft.com/office/drawing/2014/main" id="{1CBD7216-A6CD-4B9B-B8F6-E25C8D592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0">
                <a:extLst>
                  <a:ext uri="{FF2B5EF4-FFF2-40B4-BE49-F238E27FC236}">
                    <a16:creationId xmlns:a16="http://schemas.microsoft.com/office/drawing/2014/main" id="{1795645B-6405-4926-AC56-A8D1BF0645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2">
                <a:extLst>
                  <a:ext uri="{FF2B5EF4-FFF2-40B4-BE49-F238E27FC236}">
                    <a16:creationId xmlns:a16="http://schemas.microsoft.com/office/drawing/2014/main" id="{0C191BCE-AC0B-4D5F-AD48-B8B47C943F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4">
                <a:extLst>
                  <a:ext uri="{FF2B5EF4-FFF2-40B4-BE49-F238E27FC236}">
                    <a16:creationId xmlns:a16="http://schemas.microsoft.com/office/drawing/2014/main" id="{556D1FA9-D1DB-4513-AC58-E2EA36E095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26">
                <a:extLst>
                  <a:ext uri="{FF2B5EF4-FFF2-40B4-BE49-F238E27FC236}">
                    <a16:creationId xmlns:a16="http://schemas.microsoft.com/office/drawing/2014/main" id="{2A44CF1E-456A-486C-9BF7-6D51B624C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8">
                <a:extLst>
                  <a:ext uri="{FF2B5EF4-FFF2-40B4-BE49-F238E27FC236}">
                    <a16:creationId xmlns:a16="http://schemas.microsoft.com/office/drawing/2014/main" id="{8F29A272-31D6-4DE7-9B78-D2C68E80B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937402BC-A81D-4537-804C-43D34020D5B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9" name="Line 230">
                <a:extLst>
                  <a:ext uri="{FF2B5EF4-FFF2-40B4-BE49-F238E27FC236}">
                    <a16:creationId xmlns:a16="http://schemas.microsoft.com/office/drawing/2014/main" id="{3421C62B-8E2C-49E3-B5BC-9E403250A7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2">
                <a:extLst>
                  <a:ext uri="{FF2B5EF4-FFF2-40B4-BE49-F238E27FC236}">
                    <a16:creationId xmlns:a16="http://schemas.microsoft.com/office/drawing/2014/main" id="{1C40673D-0199-40FB-8A9E-64310496D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4">
                <a:extLst>
                  <a:ext uri="{FF2B5EF4-FFF2-40B4-BE49-F238E27FC236}">
                    <a16:creationId xmlns:a16="http://schemas.microsoft.com/office/drawing/2014/main" id="{37E8215D-C3C4-4A73-BD0F-8BA7F76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36">
                <a:extLst>
                  <a:ext uri="{FF2B5EF4-FFF2-40B4-BE49-F238E27FC236}">
                    <a16:creationId xmlns:a16="http://schemas.microsoft.com/office/drawing/2014/main" id="{4DAD94F0-B454-4DFE-93AC-67FB19161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38">
                <a:extLst>
                  <a:ext uri="{FF2B5EF4-FFF2-40B4-BE49-F238E27FC236}">
                    <a16:creationId xmlns:a16="http://schemas.microsoft.com/office/drawing/2014/main" id="{27941118-30DB-4BAB-9969-C20A9E8D3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0">
                <a:extLst>
                  <a:ext uri="{FF2B5EF4-FFF2-40B4-BE49-F238E27FC236}">
                    <a16:creationId xmlns:a16="http://schemas.microsoft.com/office/drawing/2014/main" id="{39686D69-09F3-402B-9294-3CCC5E22CD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44">
                <a:extLst>
                  <a:ext uri="{FF2B5EF4-FFF2-40B4-BE49-F238E27FC236}">
                    <a16:creationId xmlns:a16="http://schemas.microsoft.com/office/drawing/2014/main" id="{2D1FD4F4-1D48-478F-80DD-4696432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46">
                <a:extLst>
                  <a:ext uri="{FF2B5EF4-FFF2-40B4-BE49-F238E27FC236}">
                    <a16:creationId xmlns:a16="http://schemas.microsoft.com/office/drawing/2014/main" id="{B08BAC93-EF49-437C-8C13-B4058CA55B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0">
                <a:extLst>
                  <a:ext uri="{FF2B5EF4-FFF2-40B4-BE49-F238E27FC236}">
                    <a16:creationId xmlns:a16="http://schemas.microsoft.com/office/drawing/2014/main" id="{21F7D53A-0DEB-40F4-80E3-6666141D7B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2">
                <a:extLst>
                  <a:ext uri="{FF2B5EF4-FFF2-40B4-BE49-F238E27FC236}">
                    <a16:creationId xmlns:a16="http://schemas.microsoft.com/office/drawing/2014/main" id="{82DA2D6B-9DB0-4726-918F-FF5AFD3D20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4">
                <a:extLst>
                  <a:ext uri="{FF2B5EF4-FFF2-40B4-BE49-F238E27FC236}">
                    <a16:creationId xmlns:a16="http://schemas.microsoft.com/office/drawing/2014/main" id="{875AC468-D96B-4A05-9FEC-DE588608CD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56">
                <a:extLst>
                  <a:ext uri="{FF2B5EF4-FFF2-40B4-BE49-F238E27FC236}">
                    <a16:creationId xmlns:a16="http://schemas.microsoft.com/office/drawing/2014/main" id="{46EB01E5-D42D-4A41-B1B9-EBCC51A2E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8">
                <a:extLst>
                  <a:ext uri="{FF2B5EF4-FFF2-40B4-BE49-F238E27FC236}">
                    <a16:creationId xmlns:a16="http://schemas.microsoft.com/office/drawing/2014/main" id="{17DDACC6-50E9-40F2-8B15-A03A4A3C1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0">
                <a:extLst>
                  <a:ext uri="{FF2B5EF4-FFF2-40B4-BE49-F238E27FC236}">
                    <a16:creationId xmlns:a16="http://schemas.microsoft.com/office/drawing/2014/main" id="{2833C298-F04B-414C-9057-5FD978375D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2">
                <a:extLst>
                  <a:ext uri="{FF2B5EF4-FFF2-40B4-BE49-F238E27FC236}">
                    <a16:creationId xmlns:a16="http://schemas.microsoft.com/office/drawing/2014/main" id="{902D99C7-2D3F-4E2C-8A67-648FF9A3D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4">
                <a:extLst>
                  <a:ext uri="{FF2B5EF4-FFF2-40B4-BE49-F238E27FC236}">
                    <a16:creationId xmlns:a16="http://schemas.microsoft.com/office/drawing/2014/main" id="{31D5F0E2-3B7A-4E9D-B3A5-FA2C79C8E1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66">
                <a:extLst>
                  <a:ext uri="{FF2B5EF4-FFF2-40B4-BE49-F238E27FC236}">
                    <a16:creationId xmlns:a16="http://schemas.microsoft.com/office/drawing/2014/main" id="{439938AF-B13B-4B8D-A504-142974250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8">
                <a:extLst>
                  <a:ext uri="{FF2B5EF4-FFF2-40B4-BE49-F238E27FC236}">
                    <a16:creationId xmlns:a16="http://schemas.microsoft.com/office/drawing/2014/main" id="{DDBE8CEA-12A7-4E74-BC5F-ABE1379C3A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0">
                <a:extLst>
                  <a:ext uri="{FF2B5EF4-FFF2-40B4-BE49-F238E27FC236}">
                    <a16:creationId xmlns:a16="http://schemas.microsoft.com/office/drawing/2014/main" id="{A1E8752F-6CE7-4891-9C11-606242B78D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2">
                <a:extLst>
                  <a:ext uri="{FF2B5EF4-FFF2-40B4-BE49-F238E27FC236}">
                    <a16:creationId xmlns:a16="http://schemas.microsoft.com/office/drawing/2014/main" id="{8365E1D6-50C3-4A64-8F09-55E117BC5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4">
                <a:extLst>
                  <a:ext uri="{FF2B5EF4-FFF2-40B4-BE49-F238E27FC236}">
                    <a16:creationId xmlns:a16="http://schemas.microsoft.com/office/drawing/2014/main" id="{6C5F3E76-AE1D-4BDD-92FD-23BE5F27D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76">
                <a:extLst>
                  <a:ext uri="{FF2B5EF4-FFF2-40B4-BE49-F238E27FC236}">
                    <a16:creationId xmlns:a16="http://schemas.microsoft.com/office/drawing/2014/main" id="{E7D5AB20-2915-4CF3-AB1F-4DB51705F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8">
                <a:extLst>
                  <a:ext uri="{FF2B5EF4-FFF2-40B4-BE49-F238E27FC236}">
                    <a16:creationId xmlns:a16="http://schemas.microsoft.com/office/drawing/2014/main" id="{2E6E13AC-C42D-43C8-9138-2B790F7FC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63A5159F-4836-458A-B936-49B94063613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6" name="Line 231">
                <a:extLst>
                  <a:ext uri="{FF2B5EF4-FFF2-40B4-BE49-F238E27FC236}">
                    <a16:creationId xmlns:a16="http://schemas.microsoft.com/office/drawing/2014/main" id="{8BBFDFE6-28F3-4084-BE31-5FA60342DD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3">
                <a:extLst>
                  <a:ext uri="{FF2B5EF4-FFF2-40B4-BE49-F238E27FC236}">
                    <a16:creationId xmlns:a16="http://schemas.microsoft.com/office/drawing/2014/main" id="{FFBA5A57-2CFC-435D-A013-4F67327176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5">
                <a:extLst>
                  <a:ext uri="{FF2B5EF4-FFF2-40B4-BE49-F238E27FC236}">
                    <a16:creationId xmlns:a16="http://schemas.microsoft.com/office/drawing/2014/main" id="{CD7BFA0D-1A3D-4C1C-BC63-5A6D9EEFB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37">
                <a:extLst>
                  <a:ext uri="{FF2B5EF4-FFF2-40B4-BE49-F238E27FC236}">
                    <a16:creationId xmlns:a16="http://schemas.microsoft.com/office/drawing/2014/main" id="{587EA413-47A3-4257-909A-59AD166D7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9">
                <a:extLst>
                  <a:ext uri="{FF2B5EF4-FFF2-40B4-BE49-F238E27FC236}">
                    <a16:creationId xmlns:a16="http://schemas.microsoft.com/office/drawing/2014/main" id="{F3FEB8B5-181A-4292-A063-09EC34236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1">
                <a:extLst>
                  <a:ext uri="{FF2B5EF4-FFF2-40B4-BE49-F238E27FC236}">
                    <a16:creationId xmlns:a16="http://schemas.microsoft.com/office/drawing/2014/main" id="{88315634-7A9F-4FAB-9860-0112CCFE9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45">
                <a:extLst>
                  <a:ext uri="{FF2B5EF4-FFF2-40B4-BE49-F238E27FC236}">
                    <a16:creationId xmlns:a16="http://schemas.microsoft.com/office/drawing/2014/main" id="{0B3ABEA7-460A-4953-B601-370EDD9EB3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47">
                <a:extLst>
                  <a:ext uri="{FF2B5EF4-FFF2-40B4-BE49-F238E27FC236}">
                    <a16:creationId xmlns:a16="http://schemas.microsoft.com/office/drawing/2014/main" id="{49547F88-A319-4F47-83F5-9C4497D4E4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1">
                <a:extLst>
                  <a:ext uri="{FF2B5EF4-FFF2-40B4-BE49-F238E27FC236}">
                    <a16:creationId xmlns:a16="http://schemas.microsoft.com/office/drawing/2014/main" id="{0BC476A5-C5AE-4BBC-A4DD-84E8F6E2DB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3">
                <a:extLst>
                  <a:ext uri="{FF2B5EF4-FFF2-40B4-BE49-F238E27FC236}">
                    <a16:creationId xmlns:a16="http://schemas.microsoft.com/office/drawing/2014/main" id="{F6E9D37F-2414-4045-AB67-AC1A797924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5">
                <a:extLst>
                  <a:ext uri="{FF2B5EF4-FFF2-40B4-BE49-F238E27FC236}">
                    <a16:creationId xmlns:a16="http://schemas.microsoft.com/office/drawing/2014/main" id="{C62BBB46-B6A2-471B-80DC-CDF998E1D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57">
                <a:extLst>
                  <a:ext uri="{FF2B5EF4-FFF2-40B4-BE49-F238E27FC236}">
                    <a16:creationId xmlns:a16="http://schemas.microsoft.com/office/drawing/2014/main" id="{24089D01-AFA3-4C5E-8859-83EA3FD89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9">
                <a:extLst>
                  <a:ext uri="{FF2B5EF4-FFF2-40B4-BE49-F238E27FC236}">
                    <a16:creationId xmlns:a16="http://schemas.microsoft.com/office/drawing/2014/main" id="{D4DFE3FD-66BA-42F7-928D-A01A9F311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1">
                <a:extLst>
                  <a:ext uri="{FF2B5EF4-FFF2-40B4-BE49-F238E27FC236}">
                    <a16:creationId xmlns:a16="http://schemas.microsoft.com/office/drawing/2014/main" id="{CBBC3E20-ED41-4BF5-B42B-64137BD4E9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3">
                <a:extLst>
                  <a:ext uri="{FF2B5EF4-FFF2-40B4-BE49-F238E27FC236}">
                    <a16:creationId xmlns:a16="http://schemas.microsoft.com/office/drawing/2014/main" id="{3D023812-5C70-4E70-A4B8-AED6255949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5">
                <a:extLst>
                  <a:ext uri="{FF2B5EF4-FFF2-40B4-BE49-F238E27FC236}">
                    <a16:creationId xmlns:a16="http://schemas.microsoft.com/office/drawing/2014/main" id="{185EFAA2-D5A1-4CD7-AFCE-E3EC468C73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67">
                <a:extLst>
                  <a:ext uri="{FF2B5EF4-FFF2-40B4-BE49-F238E27FC236}">
                    <a16:creationId xmlns:a16="http://schemas.microsoft.com/office/drawing/2014/main" id="{E3C740FA-98E7-4158-9E06-675CA6D9DE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9">
                <a:extLst>
                  <a:ext uri="{FF2B5EF4-FFF2-40B4-BE49-F238E27FC236}">
                    <a16:creationId xmlns:a16="http://schemas.microsoft.com/office/drawing/2014/main" id="{3CCEFF65-38B6-43B3-9C7F-795211CB25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1">
                <a:extLst>
                  <a:ext uri="{FF2B5EF4-FFF2-40B4-BE49-F238E27FC236}">
                    <a16:creationId xmlns:a16="http://schemas.microsoft.com/office/drawing/2014/main" id="{D8516103-61DA-4A5B-ACD6-6F51911C28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3">
                <a:extLst>
                  <a:ext uri="{FF2B5EF4-FFF2-40B4-BE49-F238E27FC236}">
                    <a16:creationId xmlns:a16="http://schemas.microsoft.com/office/drawing/2014/main" id="{7FAF9D22-E4C3-403F-8AFA-F8BD692DFF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5">
                <a:extLst>
                  <a:ext uri="{FF2B5EF4-FFF2-40B4-BE49-F238E27FC236}">
                    <a16:creationId xmlns:a16="http://schemas.microsoft.com/office/drawing/2014/main" id="{F6A8BD32-E7C1-46E5-AD99-F240002526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77">
                <a:extLst>
                  <a:ext uri="{FF2B5EF4-FFF2-40B4-BE49-F238E27FC236}">
                    <a16:creationId xmlns:a16="http://schemas.microsoft.com/office/drawing/2014/main" id="{26F98172-1DE8-4E1A-9132-2445A5C900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9">
                <a:extLst>
                  <a:ext uri="{FF2B5EF4-FFF2-40B4-BE49-F238E27FC236}">
                    <a16:creationId xmlns:a16="http://schemas.microsoft.com/office/drawing/2014/main" id="{D0D22C78-16F6-4B8D-B4B8-7FD15C3392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8" name="Line 256">
              <a:extLst>
                <a:ext uri="{FF2B5EF4-FFF2-40B4-BE49-F238E27FC236}">
                  <a16:creationId xmlns:a16="http://schemas.microsoft.com/office/drawing/2014/main" id="{A76C64AD-9040-4204-A675-E8656BD9C4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147">
              <a:extLst>
                <a:ext uri="{FF2B5EF4-FFF2-40B4-BE49-F238E27FC236}">
                  <a16:creationId xmlns:a16="http://schemas.microsoft.com/office/drawing/2014/main" id="{99FDC947-9341-415C-AD84-950E6CBB329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146">
              <a:extLst>
                <a:ext uri="{FF2B5EF4-FFF2-40B4-BE49-F238E27FC236}">
                  <a16:creationId xmlns:a16="http://schemas.microsoft.com/office/drawing/2014/main" id="{ADA0F010-1564-49CC-B288-5BCEF98C512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4">
              <a:extLst>
                <a:ext uri="{FF2B5EF4-FFF2-40B4-BE49-F238E27FC236}">
                  <a16:creationId xmlns:a16="http://schemas.microsoft.com/office/drawing/2014/main" id="{EE411B2E-6331-4BBE-B590-FB411684182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4">
              <a:extLst>
                <a:ext uri="{FF2B5EF4-FFF2-40B4-BE49-F238E27FC236}">
                  <a16:creationId xmlns:a16="http://schemas.microsoft.com/office/drawing/2014/main" id="{6B822687-2153-4379-8DAC-9CF5A334CF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35">
              <a:extLst>
                <a:ext uri="{FF2B5EF4-FFF2-40B4-BE49-F238E27FC236}">
                  <a16:creationId xmlns:a16="http://schemas.microsoft.com/office/drawing/2014/main" id="{B0AB66BB-12D3-4758-9C11-8FFC540F8A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05">
              <a:extLst>
                <a:ext uri="{FF2B5EF4-FFF2-40B4-BE49-F238E27FC236}">
                  <a16:creationId xmlns:a16="http://schemas.microsoft.com/office/drawing/2014/main" id="{AB6FA29B-5F03-485F-B813-4707BEF86FF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57">
              <a:extLst>
                <a:ext uri="{FF2B5EF4-FFF2-40B4-BE49-F238E27FC236}">
                  <a16:creationId xmlns:a16="http://schemas.microsoft.com/office/drawing/2014/main" id="{A2AECB8B-00F0-40E1-AE84-AF045893A3B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416" name="Rectangle 415">
            <a:extLst>
              <a:ext uri="{FF2B5EF4-FFF2-40B4-BE49-F238E27FC236}">
                <a16:creationId xmlns:a16="http://schemas.microsoft.com/office/drawing/2014/main" id="{B6181363-CE89-4D35-B6FC-BDA9B8E9416B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id="{DE364F5C-7E32-4691-8C62-8466322E888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-1"/>
            <a:ext cx="9144000" cy="4324351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13">
            <a:extLst>
              <a:ext uri="{FF2B5EF4-FFF2-40B4-BE49-F238E27FC236}">
                <a16:creationId xmlns:a16="http://schemas.microsoft.com/office/drawing/2014/main" id="{2EADD901-E232-4396-8CA7-8C5660303D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0102" y="421004"/>
            <a:ext cx="7290466" cy="3493771"/>
          </a:xfrm>
          <a:custGeom>
            <a:avLst/>
            <a:gdLst>
              <a:gd name="connsiteX0" fmla="*/ 0 w 4507200"/>
              <a:gd name="connsiteY0" fmla="*/ 0 h 5143500"/>
              <a:gd name="connsiteX1" fmla="*/ 4507200 w 4507200"/>
              <a:gd name="connsiteY1" fmla="*/ 0 h 5143500"/>
              <a:gd name="connsiteX2" fmla="*/ 4507200 w 4507200"/>
              <a:gd name="connsiteY2" fmla="*/ 2400299 h 5143500"/>
              <a:gd name="connsiteX3" fmla="*/ 4507200 w 4507200"/>
              <a:gd name="connsiteY3" fmla="*/ 2743201 h 5143500"/>
              <a:gd name="connsiteX4" fmla="*/ 4507200 w 4507200"/>
              <a:gd name="connsiteY4" fmla="*/ 4012979 h 5143500"/>
              <a:gd name="connsiteX5" fmla="*/ 4507200 w 4507200"/>
              <a:gd name="connsiteY5" fmla="*/ 4154750 h 5143500"/>
              <a:gd name="connsiteX6" fmla="*/ 4507200 w 4507200"/>
              <a:gd name="connsiteY6" fmla="*/ 5143500 h 5143500"/>
              <a:gd name="connsiteX7" fmla="*/ 1875 w 4507200"/>
              <a:gd name="connsiteY7" fmla="*/ 5143500 h 5143500"/>
              <a:gd name="connsiteX8" fmla="*/ 1875 w 4507200"/>
              <a:gd name="connsiteY8" fmla="*/ 4154750 h 5143500"/>
              <a:gd name="connsiteX9" fmla="*/ 0 w 4507200"/>
              <a:gd name="connsiteY9" fmla="*/ 4154750 h 5143500"/>
              <a:gd name="connsiteX10" fmla="*/ 0 w 4507200"/>
              <a:gd name="connsiteY10" fmla="*/ 2743201 h 5143500"/>
              <a:gd name="connsiteX11" fmla="*/ 0 w 4507200"/>
              <a:gd name="connsiteY11" fmla="*/ 240029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07200" h="5143500">
                <a:moveTo>
                  <a:pt x="0" y="0"/>
                </a:moveTo>
                <a:lnTo>
                  <a:pt x="4507200" y="0"/>
                </a:lnTo>
                <a:lnTo>
                  <a:pt x="4507200" y="2400299"/>
                </a:lnTo>
                <a:lnTo>
                  <a:pt x="4507200" y="2743201"/>
                </a:lnTo>
                <a:lnTo>
                  <a:pt x="4507200" y="4012979"/>
                </a:lnTo>
                <a:lnTo>
                  <a:pt x="4507200" y="4154750"/>
                </a:lnTo>
                <a:lnTo>
                  <a:pt x="4507200" y="5143500"/>
                </a:lnTo>
                <a:lnTo>
                  <a:pt x="1875" y="5143500"/>
                </a:lnTo>
                <a:lnTo>
                  <a:pt x="1875" y="4154750"/>
                </a:lnTo>
                <a:lnTo>
                  <a:pt x="0" y="4154750"/>
                </a:lnTo>
                <a:lnTo>
                  <a:pt x="0" y="2743201"/>
                </a:lnTo>
                <a:lnTo>
                  <a:pt x="0" y="2400299"/>
                </a:lnTo>
                <a:close/>
              </a:path>
            </a:pathLst>
          </a:custGeom>
          <a:noFill/>
        </p:spPr>
        <p:txBody>
          <a:bodyPr wrap="square" lIns="0" tIns="0" rIns="0" bIns="0" anchor="ctr" anchorCtr="0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  <a:lvl2pPr marL="0" indent="0">
              <a:buNone/>
              <a:defRPr sz="1800" b="0">
                <a:solidFill>
                  <a:schemeClr val="tx2"/>
                </a:solidFill>
              </a:defRPr>
            </a:lvl2pPr>
            <a:lvl3pPr>
              <a:defRPr sz="1400" b="0">
                <a:solidFill>
                  <a:schemeClr val="bg1"/>
                </a:solidFill>
              </a:defRPr>
            </a:lvl3pPr>
            <a:lvl4pPr>
              <a:defRPr sz="1400" b="0">
                <a:solidFill>
                  <a:schemeClr val="bg1"/>
                </a:solidFill>
              </a:defRPr>
            </a:lvl4pPr>
            <a:lvl5pP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A7DDC8-57EC-4899-8FC8-8361FE513A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EA0A5F-3D37-4F83-B8E9-4089D3056A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id="{58D555FD-40CA-44A7-904A-5BFB5DD9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911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DDABF2-5E46-47BA-A65A-1576DC95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D372F-0BD8-4485-AE80-B70D6B5C43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07B1E7-C041-4AC2-979A-1631485DF7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</p:spTree>
    <p:extLst>
      <p:ext uri="{BB962C8B-B14F-4D97-AF65-F5344CB8AC3E}">
        <p14:creationId xmlns:p14="http://schemas.microsoft.com/office/powerpoint/2010/main" val="532818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90445DE-B1C3-44D4-B035-F2B14E755D55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F6FC3461-0DB9-470F-97CE-BF2B7E0D6C9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9" name="Line 147">
                <a:extLst>
                  <a:ext uri="{FF2B5EF4-FFF2-40B4-BE49-F238E27FC236}">
                    <a16:creationId xmlns:a16="http://schemas.microsoft.com/office/drawing/2014/main" id="{4BC09ABA-E3B5-4736-92AF-AB7A63EA85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49">
                <a:extLst>
                  <a:ext uri="{FF2B5EF4-FFF2-40B4-BE49-F238E27FC236}">
                    <a16:creationId xmlns:a16="http://schemas.microsoft.com/office/drawing/2014/main" id="{530BFD62-48E5-4A72-9021-81A0C1E23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1">
                <a:extLst>
                  <a:ext uri="{FF2B5EF4-FFF2-40B4-BE49-F238E27FC236}">
                    <a16:creationId xmlns:a16="http://schemas.microsoft.com/office/drawing/2014/main" id="{85B75A0D-B9DC-46B2-8925-56933BE8E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3">
                <a:extLst>
                  <a:ext uri="{FF2B5EF4-FFF2-40B4-BE49-F238E27FC236}">
                    <a16:creationId xmlns:a16="http://schemas.microsoft.com/office/drawing/2014/main" id="{B95E558D-0E5D-455E-8BD5-47417236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5">
                <a:extLst>
                  <a:ext uri="{FF2B5EF4-FFF2-40B4-BE49-F238E27FC236}">
                    <a16:creationId xmlns:a16="http://schemas.microsoft.com/office/drawing/2014/main" id="{4F22F0F5-6754-4DD7-8C83-BF9E04BA74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7">
                <a:extLst>
                  <a:ext uri="{FF2B5EF4-FFF2-40B4-BE49-F238E27FC236}">
                    <a16:creationId xmlns:a16="http://schemas.microsoft.com/office/drawing/2014/main" id="{0CBC4CB9-1889-4DE0-B466-0A5CBF2290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9">
                <a:extLst>
                  <a:ext uri="{FF2B5EF4-FFF2-40B4-BE49-F238E27FC236}">
                    <a16:creationId xmlns:a16="http://schemas.microsoft.com/office/drawing/2014/main" id="{D8D60D08-1954-4311-8B40-DD5F7DC6F5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1">
                <a:extLst>
                  <a:ext uri="{FF2B5EF4-FFF2-40B4-BE49-F238E27FC236}">
                    <a16:creationId xmlns:a16="http://schemas.microsoft.com/office/drawing/2014/main" id="{0D29F81F-67EF-4EC6-B21C-3FFC6026D3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3">
                <a:extLst>
                  <a:ext uri="{FF2B5EF4-FFF2-40B4-BE49-F238E27FC236}">
                    <a16:creationId xmlns:a16="http://schemas.microsoft.com/office/drawing/2014/main" id="{356F1D08-2151-4A6D-BAB0-B9F55B1858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5">
                <a:extLst>
                  <a:ext uri="{FF2B5EF4-FFF2-40B4-BE49-F238E27FC236}">
                    <a16:creationId xmlns:a16="http://schemas.microsoft.com/office/drawing/2014/main" id="{8091B560-6671-4CF6-B634-511F43ECB7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7">
                <a:extLst>
                  <a:ext uri="{FF2B5EF4-FFF2-40B4-BE49-F238E27FC236}">
                    <a16:creationId xmlns:a16="http://schemas.microsoft.com/office/drawing/2014/main" id="{F8E61DFB-8A3C-4854-85D0-47664ADCE0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9">
                <a:extLst>
                  <a:ext uri="{FF2B5EF4-FFF2-40B4-BE49-F238E27FC236}">
                    <a16:creationId xmlns:a16="http://schemas.microsoft.com/office/drawing/2014/main" id="{06B4591B-D126-4D64-BB68-2BF68F1119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1">
                <a:extLst>
                  <a:ext uri="{FF2B5EF4-FFF2-40B4-BE49-F238E27FC236}">
                    <a16:creationId xmlns:a16="http://schemas.microsoft.com/office/drawing/2014/main" id="{64423BA2-90DF-492C-8800-F7F7E34C5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3">
                <a:extLst>
                  <a:ext uri="{FF2B5EF4-FFF2-40B4-BE49-F238E27FC236}">
                    <a16:creationId xmlns:a16="http://schemas.microsoft.com/office/drawing/2014/main" id="{2A529EB3-65E4-4A80-AC2A-6F0612B97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5">
                <a:extLst>
                  <a:ext uri="{FF2B5EF4-FFF2-40B4-BE49-F238E27FC236}">
                    <a16:creationId xmlns:a16="http://schemas.microsoft.com/office/drawing/2014/main" id="{14174E59-DD83-4AEE-90A5-3DC9DA2DD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7">
                <a:extLst>
                  <a:ext uri="{FF2B5EF4-FFF2-40B4-BE49-F238E27FC236}">
                    <a16:creationId xmlns:a16="http://schemas.microsoft.com/office/drawing/2014/main" id="{064A1FBE-71FE-48B3-9869-9CFAA32DB8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9">
                <a:extLst>
                  <a:ext uri="{FF2B5EF4-FFF2-40B4-BE49-F238E27FC236}">
                    <a16:creationId xmlns:a16="http://schemas.microsoft.com/office/drawing/2014/main" id="{A2EBF868-B2F5-4A23-86F5-CDAB5D5FFD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1">
                <a:extLst>
                  <a:ext uri="{FF2B5EF4-FFF2-40B4-BE49-F238E27FC236}">
                    <a16:creationId xmlns:a16="http://schemas.microsoft.com/office/drawing/2014/main" id="{2289E2D6-3F09-46D0-B7A9-E8F4EE7AB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3">
                <a:extLst>
                  <a:ext uri="{FF2B5EF4-FFF2-40B4-BE49-F238E27FC236}">
                    <a16:creationId xmlns:a16="http://schemas.microsoft.com/office/drawing/2014/main" id="{FD47B567-D78B-43A1-9F90-5EA321CF36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5">
                <a:extLst>
                  <a:ext uri="{FF2B5EF4-FFF2-40B4-BE49-F238E27FC236}">
                    <a16:creationId xmlns:a16="http://schemas.microsoft.com/office/drawing/2014/main" id="{DAA4691E-209D-496C-BE38-14749154D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7">
                <a:extLst>
                  <a:ext uri="{FF2B5EF4-FFF2-40B4-BE49-F238E27FC236}">
                    <a16:creationId xmlns:a16="http://schemas.microsoft.com/office/drawing/2014/main" id="{E3916234-9567-4630-B495-F18464F2C3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9">
                <a:extLst>
                  <a:ext uri="{FF2B5EF4-FFF2-40B4-BE49-F238E27FC236}">
                    <a16:creationId xmlns:a16="http://schemas.microsoft.com/office/drawing/2014/main" id="{B2286C59-805B-4DBE-8B18-E989813345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1">
                <a:extLst>
                  <a:ext uri="{FF2B5EF4-FFF2-40B4-BE49-F238E27FC236}">
                    <a16:creationId xmlns:a16="http://schemas.microsoft.com/office/drawing/2014/main" id="{A34A5D31-4152-4E02-B001-52AF2E251B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3">
                <a:extLst>
                  <a:ext uri="{FF2B5EF4-FFF2-40B4-BE49-F238E27FC236}">
                    <a16:creationId xmlns:a16="http://schemas.microsoft.com/office/drawing/2014/main" id="{59550C67-6E54-4420-8007-D235F492D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5">
                <a:extLst>
                  <a:ext uri="{FF2B5EF4-FFF2-40B4-BE49-F238E27FC236}">
                    <a16:creationId xmlns:a16="http://schemas.microsoft.com/office/drawing/2014/main" id="{22320B18-F6F8-4506-A4F9-19E0A7C3D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7">
                <a:extLst>
                  <a:ext uri="{FF2B5EF4-FFF2-40B4-BE49-F238E27FC236}">
                    <a16:creationId xmlns:a16="http://schemas.microsoft.com/office/drawing/2014/main" id="{F15C89C8-26A7-4E2C-9A06-4998EC28D6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9">
                <a:extLst>
                  <a:ext uri="{FF2B5EF4-FFF2-40B4-BE49-F238E27FC236}">
                    <a16:creationId xmlns:a16="http://schemas.microsoft.com/office/drawing/2014/main" id="{2AD72605-9DE0-40A9-906C-D027544A46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1">
                <a:extLst>
                  <a:ext uri="{FF2B5EF4-FFF2-40B4-BE49-F238E27FC236}">
                    <a16:creationId xmlns:a16="http://schemas.microsoft.com/office/drawing/2014/main" id="{5338217E-B0F9-4443-BCDE-5EDA824734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3">
                <a:extLst>
                  <a:ext uri="{FF2B5EF4-FFF2-40B4-BE49-F238E27FC236}">
                    <a16:creationId xmlns:a16="http://schemas.microsoft.com/office/drawing/2014/main" id="{AE0502D6-237F-4DEE-9DBA-DE7436F29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5">
                <a:extLst>
                  <a:ext uri="{FF2B5EF4-FFF2-40B4-BE49-F238E27FC236}">
                    <a16:creationId xmlns:a16="http://schemas.microsoft.com/office/drawing/2014/main" id="{90046965-E6BA-4B58-A100-07539117D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7">
                <a:extLst>
                  <a:ext uri="{FF2B5EF4-FFF2-40B4-BE49-F238E27FC236}">
                    <a16:creationId xmlns:a16="http://schemas.microsoft.com/office/drawing/2014/main" id="{BACDAD27-6C0A-4306-83D9-1C641EB92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9">
                <a:extLst>
                  <a:ext uri="{FF2B5EF4-FFF2-40B4-BE49-F238E27FC236}">
                    <a16:creationId xmlns:a16="http://schemas.microsoft.com/office/drawing/2014/main" id="{91FBB0A3-3F1B-40EF-A0B2-18410C4B26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1">
                <a:extLst>
                  <a:ext uri="{FF2B5EF4-FFF2-40B4-BE49-F238E27FC236}">
                    <a16:creationId xmlns:a16="http://schemas.microsoft.com/office/drawing/2014/main" id="{CC36C518-D537-470F-A19E-7BD5EC5CA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3">
                <a:extLst>
                  <a:ext uri="{FF2B5EF4-FFF2-40B4-BE49-F238E27FC236}">
                    <a16:creationId xmlns:a16="http://schemas.microsoft.com/office/drawing/2014/main" id="{3B4FC7AD-E2DF-40E0-9BD3-77F28FF05F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5">
                <a:extLst>
                  <a:ext uri="{FF2B5EF4-FFF2-40B4-BE49-F238E27FC236}">
                    <a16:creationId xmlns:a16="http://schemas.microsoft.com/office/drawing/2014/main" id="{AFB1C2D4-AEE0-47BF-8B36-5AD9BF2F9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7">
                <a:extLst>
                  <a:ext uri="{FF2B5EF4-FFF2-40B4-BE49-F238E27FC236}">
                    <a16:creationId xmlns:a16="http://schemas.microsoft.com/office/drawing/2014/main" id="{D94FC2B5-651A-4F75-B7AE-78FC500412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9">
                <a:extLst>
                  <a:ext uri="{FF2B5EF4-FFF2-40B4-BE49-F238E27FC236}">
                    <a16:creationId xmlns:a16="http://schemas.microsoft.com/office/drawing/2014/main" id="{7AA949C8-027E-4B58-9834-FDF5D261EF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21">
                <a:extLst>
                  <a:ext uri="{FF2B5EF4-FFF2-40B4-BE49-F238E27FC236}">
                    <a16:creationId xmlns:a16="http://schemas.microsoft.com/office/drawing/2014/main" id="{113BCCFB-E01B-43DD-81F2-459278E0F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23">
                <a:extLst>
                  <a:ext uri="{FF2B5EF4-FFF2-40B4-BE49-F238E27FC236}">
                    <a16:creationId xmlns:a16="http://schemas.microsoft.com/office/drawing/2014/main" id="{BAF92D42-9DE8-463F-86BB-7FCA6FF84F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25">
                <a:extLst>
                  <a:ext uri="{FF2B5EF4-FFF2-40B4-BE49-F238E27FC236}">
                    <a16:creationId xmlns:a16="http://schemas.microsoft.com/office/drawing/2014/main" id="{93E14C02-2AA1-4A50-B3F6-1E81D05E0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27">
                <a:extLst>
                  <a:ext uri="{FF2B5EF4-FFF2-40B4-BE49-F238E27FC236}">
                    <a16:creationId xmlns:a16="http://schemas.microsoft.com/office/drawing/2014/main" id="{52080265-33BC-4FC6-B6AE-0F6161531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9">
                <a:extLst>
                  <a:ext uri="{FF2B5EF4-FFF2-40B4-BE49-F238E27FC236}">
                    <a16:creationId xmlns:a16="http://schemas.microsoft.com/office/drawing/2014/main" id="{BA5F1DDE-77E2-4152-AF38-9619ACB65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B0DE254B-0D3E-408F-8490-5AFDCCED8E82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7" name="Line 146">
                <a:extLst>
                  <a:ext uri="{FF2B5EF4-FFF2-40B4-BE49-F238E27FC236}">
                    <a16:creationId xmlns:a16="http://schemas.microsoft.com/office/drawing/2014/main" id="{84D7498B-6274-40A1-838C-77FB611728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48">
                <a:extLst>
                  <a:ext uri="{FF2B5EF4-FFF2-40B4-BE49-F238E27FC236}">
                    <a16:creationId xmlns:a16="http://schemas.microsoft.com/office/drawing/2014/main" id="{72E3E3AD-1C9F-4617-A0D8-4C4E3EE191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0">
                <a:extLst>
                  <a:ext uri="{FF2B5EF4-FFF2-40B4-BE49-F238E27FC236}">
                    <a16:creationId xmlns:a16="http://schemas.microsoft.com/office/drawing/2014/main" id="{31C97450-12DD-4C65-9D07-95CA714DD9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2">
                <a:extLst>
                  <a:ext uri="{FF2B5EF4-FFF2-40B4-BE49-F238E27FC236}">
                    <a16:creationId xmlns:a16="http://schemas.microsoft.com/office/drawing/2014/main" id="{B7BA963B-A8D1-4CF6-A7C3-ED125BD574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4">
                <a:extLst>
                  <a:ext uri="{FF2B5EF4-FFF2-40B4-BE49-F238E27FC236}">
                    <a16:creationId xmlns:a16="http://schemas.microsoft.com/office/drawing/2014/main" id="{BAF76838-A3CB-418D-A9F5-762D6CAAD0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6">
                <a:extLst>
                  <a:ext uri="{FF2B5EF4-FFF2-40B4-BE49-F238E27FC236}">
                    <a16:creationId xmlns:a16="http://schemas.microsoft.com/office/drawing/2014/main" id="{AC2E1460-CE20-4A02-864B-D4462A352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8">
                <a:extLst>
                  <a:ext uri="{FF2B5EF4-FFF2-40B4-BE49-F238E27FC236}">
                    <a16:creationId xmlns:a16="http://schemas.microsoft.com/office/drawing/2014/main" id="{ECBF6869-4FCE-47A6-B907-F8B8942DC5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0">
                <a:extLst>
                  <a:ext uri="{FF2B5EF4-FFF2-40B4-BE49-F238E27FC236}">
                    <a16:creationId xmlns:a16="http://schemas.microsoft.com/office/drawing/2014/main" id="{30C65AD9-C4F8-4A75-9CB5-F7D355D33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2">
                <a:extLst>
                  <a:ext uri="{FF2B5EF4-FFF2-40B4-BE49-F238E27FC236}">
                    <a16:creationId xmlns:a16="http://schemas.microsoft.com/office/drawing/2014/main" id="{E68D6201-1228-439E-A0EF-BF2D4F366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4">
                <a:extLst>
                  <a:ext uri="{FF2B5EF4-FFF2-40B4-BE49-F238E27FC236}">
                    <a16:creationId xmlns:a16="http://schemas.microsoft.com/office/drawing/2014/main" id="{F789E447-9B57-491C-85AF-46128CE5EF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6">
                <a:extLst>
                  <a:ext uri="{FF2B5EF4-FFF2-40B4-BE49-F238E27FC236}">
                    <a16:creationId xmlns:a16="http://schemas.microsoft.com/office/drawing/2014/main" id="{8FC9CC34-328C-4918-9516-EDB7A16542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8">
                <a:extLst>
                  <a:ext uri="{FF2B5EF4-FFF2-40B4-BE49-F238E27FC236}">
                    <a16:creationId xmlns:a16="http://schemas.microsoft.com/office/drawing/2014/main" id="{E5454610-A800-40C0-82DE-C0309499B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0">
                <a:extLst>
                  <a:ext uri="{FF2B5EF4-FFF2-40B4-BE49-F238E27FC236}">
                    <a16:creationId xmlns:a16="http://schemas.microsoft.com/office/drawing/2014/main" id="{4CC9F49A-537F-448C-B91E-3F01D56601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2">
                <a:extLst>
                  <a:ext uri="{FF2B5EF4-FFF2-40B4-BE49-F238E27FC236}">
                    <a16:creationId xmlns:a16="http://schemas.microsoft.com/office/drawing/2014/main" id="{B8751BA0-C7DF-4CB9-BAF2-B67B4278B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4">
                <a:extLst>
                  <a:ext uri="{FF2B5EF4-FFF2-40B4-BE49-F238E27FC236}">
                    <a16:creationId xmlns:a16="http://schemas.microsoft.com/office/drawing/2014/main" id="{D1970B96-B65A-4EFF-9F56-EB98001266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6">
                <a:extLst>
                  <a:ext uri="{FF2B5EF4-FFF2-40B4-BE49-F238E27FC236}">
                    <a16:creationId xmlns:a16="http://schemas.microsoft.com/office/drawing/2014/main" id="{D2525182-6F05-499B-80F4-885071806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8">
                <a:extLst>
                  <a:ext uri="{FF2B5EF4-FFF2-40B4-BE49-F238E27FC236}">
                    <a16:creationId xmlns:a16="http://schemas.microsoft.com/office/drawing/2014/main" id="{324D1E03-CE99-46A9-A949-A04EACC3E5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0">
                <a:extLst>
                  <a:ext uri="{FF2B5EF4-FFF2-40B4-BE49-F238E27FC236}">
                    <a16:creationId xmlns:a16="http://schemas.microsoft.com/office/drawing/2014/main" id="{941E7373-5753-4FF3-AF83-B59B79247F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2">
                <a:extLst>
                  <a:ext uri="{FF2B5EF4-FFF2-40B4-BE49-F238E27FC236}">
                    <a16:creationId xmlns:a16="http://schemas.microsoft.com/office/drawing/2014/main" id="{13027867-FA53-4B2E-B707-7F18DCA926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4">
                <a:extLst>
                  <a:ext uri="{FF2B5EF4-FFF2-40B4-BE49-F238E27FC236}">
                    <a16:creationId xmlns:a16="http://schemas.microsoft.com/office/drawing/2014/main" id="{0F035FCF-12D3-48CE-B482-E923C7423A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6">
                <a:extLst>
                  <a:ext uri="{FF2B5EF4-FFF2-40B4-BE49-F238E27FC236}">
                    <a16:creationId xmlns:a16="http://schemas.microsoft.com/office/drawing/2014/main" id="{37F72D9D-3B72-4253-A17F-DB9CA57C1D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8">
                <a:extLst>
                  <a:ext uri="{FF2B5EF4-FFF2-40B4-BE49-F238E27FC236}">
                    <a16:creationId xmlns:a16="http://schemas.microsoft.com/office/drawing/2014/main" id="{7380EC24-147D-4A71-B6BB-1263A32A0E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0">
                <a:extLst>
                  <a:ext uri="{FF2B5EF4-FFF2-40B4-BE49-F238E27FC236}">
                    <a16:creationId xmlns:a16="http://schemas.microsoft.com/office/drawing/2014/main" id="{A08343E1-4B68-42B9-9F24-5AD4C98B5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2">
                <a:extLst>
                  <a:ext uri="{FF2B5EF4-FFF2-40B4-BE49-F238E27FC236}">
                    <a16:creationId xmlns:a16="http://schemas.microsoft.com/office/drawing/2014/main" id="{E425017F-2A76-4FA2-9117-20CBD78DC1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4">
                <a:extLst>
                  <a:ext uri="{FF2B5EF4-FFF2-40B4-BE49-F238E27FC236}">
                    <a16:creationId xmlns:a16="http://schemas.microsoft.com/office/drawing/2014/main" id="{F43E75DD-A54B-4096-9C88-14E7ADB22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6">
                <a:extLst>
                  <a:ext uri="{FF2B5EF4-FFF2-40B4-BE49-F238E27FC236}">
                    <a16:creationId xmlns:a16="http://schemas.microsoft.com/office/drawing/2014/main" id="{4E96451F-C9C3-48DD-B477-9AC2E3095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8">
                <a:extLst>
                  <a:ext uri="{FF2B5EF4-FFF2-40B4-BE49-F238E27FC236}">
                    <a16:creationId xmlns:a16="http://schemas.microsoft.com/office/drawing/2014/main" id="{3DEDDD8B-083C-4097-93E8-AE73BB53F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0">
                <a:extLst>
                  <a:ext uri="{FF2B5EF4-FFF2-40B4-BE49-F238E27FC236}">
                    <a16:creationId xmlns:a16="http://schemas.microsoft.com/office/drawing/2014/main" id="{85A069CD-84D1-4B7E-BFE2-F6054FE64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2">
                <a:extLst>
                  <a:ext uri="{FF2B5EF4-FFF2-40B4-BE49-F238E27FC236}">
                    <a16:creationId xmlns:a16="http://schemas.microsoft.com/office/drawing/2014/main" id="{4B9444ED-4C7B-4BB4-9E20-F823450A4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4">
                <a:extLst>
                  <a:ext uri="{FF2B5EF4-FFF2-40B4-BE49-F238E27FC236}">
                    <a16:creationId xmlns:a16="http://schemas.microsoft.com/office/drawing/2014/main" id="{DC6CF006-B0C3-4E3B-8E70-EB4CCD38B3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6">
                <a:extLst>
                  <a:ext uri="{FF2B5EF4-FFF2-40B4-BE49-F238E27FC236}">
                    <a16:creationId xmlns:a16="http://schemas.microsoft.com/office/drawing/2014/main" id="{633DC9B3-9CE1-4930-BBC9-DC2A19004B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8">
                <a:extLst>
                  <a:ext uri="{FF2B5EF4-FFF2-40B4-BE49-F238E27FC236}">
                    <a16:creationId xmlns:a16="http://schemas.microsoft.com/office/drawing/2014/main" id="{07D9861F-5002-4D74-BF5C-EC96FAFC3C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0">
                <a:extLst>
                  <a:ext uri="{FF2B5EF4-FFF2-40B4-BE49-F238E27FC236}">
                    <a16:creationId xmlns:a16="http://schemas.microsoft.com/office/drawing/2014/main" id="{031F9C5E-C665-45C8-8257-D800F6FBF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2">
                <a:extLst>
                  <a:ext uri="{FF2B5EF4-FFF2-40B4-BE49-F238E27FC236}">
                    <a16:creationId xmlns:a16="http://schemas.microsoft.com/office/drawing/2014/main" id="{0F07CCFF-87AF-4DEA-B093-B4919403DC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4">
                <a:extLst>
                  <a:ext uri="{FF2B5EF4-FFF2-40B4-BE49-F238E27FC236}">
                    <a16:creationId xmlns:a16="http://schemas.microsoft.com/office/drawing/2014/main" id="{8F2641BA-F7DA-4777-AA0B-EBAAA3E93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6">
                <a:extLst>
                  <a:ext uri="{FF2B5EF4-FFF2-40B4-BE49-F238E27FC236}">
                    <a16:creationId xmlns:a16="http://schemas.microsoft.com/office/drawing/2014/main" id="{44EE0415-9DEC-49C0-B250-FCF4B5D6EE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8">
                <a:extLst>
                  <a:ext uri="{FF2B5EF4-FFF2-40B4-BE49-F238E27FC236}">
                    <a16:creationId xmlns:a16="http://schemas.microsoft.com/office/drawing/2014/main" id="{A17B0513-96DC-449E-B4CE-AEBFAA756C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0">
                <a:extLst>
                  <a:ext uri="{FF2B5EF4-FFF2-40B4-BE49-F238E27FC236}">
                    <a16:creationId xmlns:a16="http://schemas.microsoft.com/office/drawing/2014/main" id="{889598B2-8E34-449D-A571-2FC6DA473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2">
                <a:extLst>
                  <a:ext uri="{FF2B5EF4-FFF2-40B4-BE49-F238E27FC236}">
                    <a16:creationId xmlns:a16="http://schemas.microsoft.com/office/drawing/2014/main" id="{26944F39-88D7-48DC-8FD2-A2C6946126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4">
                <a:extLst>
                  <a:ext uri="{FF2B5EF4-FFF2-40B4-BE49-F238E27FC236}">
                    <a16:creationId xmlns:a16="http://schemas.microsoft.com/office/drawing/2014/main" id="{F9C19838-A195-4E80-B513-7AAE6CC3F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6">
                <a:extLst>
                  <a:ext uri="{FF2B5EF4-FFF2-40B4-BE49-F238E27FC236}">
                    <a16:creationId xmlns:a16="http://schemas.microsoft.com/office/drawing/2014/main" id="{E7E08B2C-EC44-424D-9E90-2914305DF1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8">
                <a:extLst>
                  <a:ext uri="{FF2B5EF4-FFF2-40B4-BE49-F238E27FC236}">
                    <a16:creationId xmlns:a16="http://schemas.microsoft.com/office/drawing/2014/main" id="{C250A683-AEFA-4633-8EBC-1AD2BEB59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658FB07-55D2-4352-9993-007A398A5DE1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4" name="Line 230">
                <a:extLst>
                  <a:ext uri="{FF2B5EF4-FFF2-40B4-BE49-F238E27FC236}">
                    <a16:creationId xmlns:a16="http://schemas.microsoft.com/office/drawing/2014/main" id="{C52473A0-6E31-4836-B983-DF51E5B37F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2">
                <a:extLst>
                  <a:ext uri="{FF2B5EF4-FFF2-40B4-BE49-F238E27FC236}">
                    <a16:creationId xmlns:a16="http://schemas.microsoft.com/office/drawing/2014/main" id="{473484B3-CDD2-4F30-87BF-332A26A3F3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4">
                <a:extLst>
                  <a:ext uri="{FF2B5EF4-FFF2-40B4-BE49-F238E27FC236}">
                    <a16:creationId xmlns:a16="http://schemas.microsoft.com/office/drawing/2014/main" id="{1A6298DD-8CFA-495C-BCA4-01C29A0E7C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6">
                <a:extLst>
                  <a:ext uri="{FF2B5EF4-FFF2-40B4-BE49-F238E27FC236}">
                    <a16:creationId xmlns:a16="http://schemas.microsoft.com/office/drawing/2014/main" id="{462E3AE7-D8DD-4A45-B408-ACD691EC5B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8">
                <a:extLst>
                  <a:ext uri="{FF2B5EF4-FFF2-40B4-BE49-F238E27FC236}">
                    <a16:creationId xmlns:a16="http://schemas.microsoft.com/office/drawing/2014/main" id="{D201B0AF-66EC-4B8A-A91A-61EAEFAE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0">
                <a:extLst>
                  <a:ext uri="{FF2B5EF4-FFF2-40B4-BE49-F238E27FC236}">
                    <a16:creationId xmlns:a16="http://schemas.microsoft.com/office/drawing/2014/main" id="{86A06C55-69C2-4BD6-BD5B-B5B751B50C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4">
                <a:extLst>
                  <a:ext uri="{FF2B5EF4-FFF2-40B4-BE49-F238E27FC236}">
                    <a16:creationId xmlns:a16="http://schemas.microsoft.com/office/drawing/2014/main" id="{64D2DCB2-1713-4F41-BA01-3D78425BDE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6">
                <a:extLst>
                  <a:ext uri="{FF2B5EF4-FFF2-40B4-BE49-F238E27FC236}">
                    <a16:creationId xmlns:a16="http://schemas.microsoft.com/office/drawing/2014/main" id="{40267A92-3F85-4C25-9050-713177E4B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0">
                <a:extLst>
                  <a:ext uri="{FF2B5EF4-FFF2-40B4-BE49-F238E27FC236}">
                    <a16:creationId xmlns:a16="http://schemas.microsoft.com/office/drawing/2014/main" id="{FE807E72-F063-47B4-A831-3699BFE008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2">
                <a:extLst>
                  <a:ext uri="{FF2B5EF4-FFF2-40B4-BE49-F238E27FC236}">
                    <a16:creationId xmlns:a16="http://schemas.microsoft.com/office/drawing/2014/main" id="{CE95DD36-402B-4390-A7C9-9ECB2A275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4">
                <a:extLst>
                  <a:ext uri="{FF2B5EF4-FFF2-40B4-BE49-F238E27FC236}">
                    <a16:creationId xmlns:a16="http://schemas.microsoft.com/office/drawing/2014/main" id="{56267E08-014C-49F2-AD9E-9F6CD12B68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6">
                <a:extLst>
                  <a:ext uri="{FF2B5EF4-FFF2-40B4-BE49-F238E27FC236}">
                    <a16:creationId xmlns:a16="http://schemas.microsoft.com/office/drawing/2014/main" id="{2E43C3C6-D735-433D-9EC9-F44C18806E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8">
                <a:extLst>
                  <a:ext uri="{FF2B5EF4-FFF2-40B4-BE49-F238E27FC236}">
                    <a16:creationId xmlns:a16="http://schemas.microsoft.com/office/drawing/2014/main" id="{42F40E89-242E-4FA7-B326-531E318141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0">
                <a:extLst>
                  <a:ext uri="{FF2B5EF4-FFF2-40B4-BE49-F238E27FC236}">
                    <a16:creationId xmlns:a16="http://schemas.microsoft.com/office/drawing/2014/main" id="{0D42D586-5256-4DD4-9BBB-C48EF0604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2">
                <a:extLst>
                  <a:ext uri="{FF2B5EF4-FFF2-40B4-BE49-F238E27FC236}">
                    <a16:creationId xmlns:a16="http://schemas.microsoft.com/office/drawing/2014/main" id="{297FFF25-8884-431C-8796-119E477D0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4">
                <a:extLst>
                  <a:ext uri="{FF2B5EF4-FFF2-40B4-BE49-F238E27FC236}">
                    <a16:creationId xmlns:a16="http://schemas.microsoft.com/office/drawing/2014/main" id="{C4AFC2FA-9A9F-4843-80D5-CDC2FA64E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6">
                <a:extLst>
                  <a:ext uri="{FF2B5EF4-FFF2-40B4-BE49-F238E27FC236}">
                    <a16:creationId xmlns:a16="http://schemas.microsoft.com/office/drawing/2014/main" id="{6B2879BC-731C-4DCE-98B8-29FCF50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8">
                <a:extLst>
                  <a:ext uri="{FF2B5EF4-FFF2-40B4-BE49-F238E27FC236}">
                    <a16:creationId xmlns:a16="http://schemas.microsoft.com/office/drawing/2014/main" id="{92B56F33-9EB0-4BB2-BB38-FC607CB81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0">
                <a:extLst>
                  <a:ext uri="{FF2B5EF4-FFF2-40B4-BE49-F238E27FC236}">
                    <a16:creationId xmlns:a16="http://schemas.microsoft.com/office/drawing/2014/main" id="{EC1E3CE2-C740-45E3-B159-366DA95CAC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2">
                <a:extLst>
                  <a:ext uri="{FF2B5EF4-FFF2-40B4-BE49-F238E27FC236}">
                    <a16:creationId xmlns:a16="http://schemas.microsoft.com/office/drawing/2014/main" id="{EC1B7E32-4279-4672-81C8-6B6D44A50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4">
                <a:extLst>
                  <a:ext uri="{FF2B5EF4-FFF2-40B4-BE49-F238E27FC236}">
                    <a16:creationId xmlns:a16="http://schemas.microsoft.com/office/drawing/2014/main" id="{418EF5CD-BFC7-4904-9849-C48C3A3608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6">
                <a:extLst>
                  <a:ext uri="{FF2B5EF4-FFF2-40B4-BE49-F238E27FC236}">
                    <a16:creationId xmlns:a16="http://schemas.microsoft.com/office/drawing/2014/main" id="{E83B8826-49BB-45B3-8743-9B4402D97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8">
                <a:extLst>
                  <a:ext uri="{FF2B5EF4-FFF2-40B4-BE49-F238E27FC236}">
                    <a16:creationId xmlns:a16="http://schemas.microsoft.com/office/drawing/2014/main" id="{88AFAE75-C3C5-4529-99A8-0EC8C276D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0492E9F7-CFC0-42BA-BC46-60B7B5A98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1" name="Line 231">
                <a:extLst>
                  <a:ext uri="{FF2B5EF4-FFF2-40B4-BE49-F238E27FC236}">
                    <a16:creationId xmlns:a16="http://schemas.microsoft.com/office/drawing/2014/main" id="{166C4598-E754-445C-98AD-41E9E69EF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33">
                <a:extLst>
                  <a:ext uri="{FF2B5EF4-FFF2-40B4-BE49-F238E27FC236}">
                    <a16:creationId xmlns:a16="http://schemas.microsoft.com/office/drawing/2014/main" id="{B535BCF2-ACDC-4AD2-B10A-2D60F7831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5">
                <a:extLst>
                  <a:ext uri="{FF2B5EF4-FFF2-40B4-BE49-F238E27FC236}">
                    <a16:creationId xmlns:a16="http://schemas.microsoft.com/office/drawing/2014/main" id="{F2583199-02AC-4BB4-8F6B-782EFE5D5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7">
                <a:extLst>
                  <a:ext uri="{FF2B5EF4-FFF2-40B4-BE49-F238E27FC236}">
                    <a16:creationId xmlns:a16="http://schemas.microsoft.com/office/drawing/2014/main" id="{97FAA829-A95C-4E9E-85B2-CDCCA7F7A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9">
                <a:extLst>
                  <a:ext uri="{FF2B5EF4-FFF2-40B4-BE49-F238E27FC236}">
                    <a16:creationId xmlns:a16="http://schemas.microsoft.com/office/drawing/2014/main" id="{F1245E42-D9FC-4E6E-86E6-FF7EA34C06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1">
                <a:extLst>
                  <a:ext uri="{FF2B5EF4-FFF2-40B4-BE49-F238E27FC236}">
                    <a16:creationId xmlns:a16="http://schemas.microsoft.com/office/drawing/2014/main" id="{3B3EEB3A-2D25-4091-A9B6-9496CF3596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5">
                <a:extLst>
                  <a:ext uri="{FF2B5EF4-FFF2-40B4-BE49-F238E27FC236}">
                    <a16:creationId xmlns:a16="http://schemas.microsoft.com/office/drawing/2014/main" id="{EB74FE18-2483-4DEA-9C6D-EBDC73069E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7">
                <a:extLst>
                  <a:ext uri="{FF2B5EF4-FFF2-40B4-BE49-F238E27FC236}">
                    <a16:creationId xmlns:a16="http://schemas.microsoft.com/office/drawing/2014/main" id="{FAB2B233-722D-44CF-845D-A1CC74B63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1">
                <a:extLst>
                  <a:ext uri="{FF2B5EF4-FFF2-40B4-BE49-F238E27FC236}">
                    <a16:creationId xmlns:a16="http://schemas.microsoft.com/office/drawing/2014/main" id="{B5C03209-0FEF-48E0-B116-19004570D0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3">
                <a:extLst>
                  <a:ext uri="{FF2B5EF4-FFF2-40B4-BE49-F238E27FC236}">
                    <a16:creationId xmlns:a16="http://schemas.microsoft.com/office/drawing/2014/main" id="{25357DF4-D2EC-45FF-BEAB-FFC71E5FB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5">
                <a:extLst>
                  <a:ext uri="{FF2B5EF4-FFF2-40B4-BE49-F238E27FC236}">
                    <a16:creationId xmlns:a16="http://schemas.microsoft.com/office/drawing/2014/main" id="{4EB134FF-C231-40AC-8C1A-FF9046642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7">
                <a:extLst>
                  <a:ext uri="{FF2B5EF4-FFF2-40B4-BE49-F238E27FC236}">
                    <a16:creationId xmlns:a16="http://schemas.microsoft.com/office/drawing/2014/main" id="{BDF9F50F-709A-4244-9CEE-837390FB0E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9">
                <a:extLst>
                  <a:ext uri="{FF2B5EF4-FFF2-40B4-BE49-F238E27FC236}">
                    <a16:creationId xmlns:a16="http://schemas.microsoft.com/office/drawing/2014/main" id="{AB1D05D6-46A5-4D10-BB61-A34EF2DC9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1">
                <a:extLst>
                  <a:ext uri="{FF2B5EF4-FFF2-40B4-BE49-F238E27FC236}">
                    <a16:creationId xmlns:a16="http://schemas.microsoft.com/office/drawing/2014/main" id="{F2F12A6E-9558-4E10-BC7D-D34FA8EFA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3">
                <a:extLst>
                  <a:ext uri="{FF2B5EF4-FFF2-40B4-BE49-F238E27FC236}">
                    <a16:creationId xmlns:a16="http://schemas.microsoft.com/office/drawing/2014/main" id="{5E12A494-05B6-4313-AE47-23385C6CA1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5">
                <a:extLst>
                  <a:ext uri="{FF2B5EF4-FFF2-40B4-BE49-F238E27FC236}">
                    <a16:creationId xmlns:a16="http://schemas.microsoft.com/office/drawing/2014/main" id="{DF22DBE8-10C8-4CE6-A219-B12CC7E00D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7">
                <a:extLst>
                  <a:ext uri="{FF2B5EF4-FFF2-40B4-BE49-F238E27FC236}">
                    <a16:creationId xmlns:a16="http://schemas.microsoft.com/office/drawing/2014/main" id="{EB6DAACD-C5E4-4E2B-8BCC-DFC347C37F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9">
                <a:extLst>
                  <a:ext uri="{FF2B5EF4-FFF2-40B4-BE49-F238E27FC236}">
                    <a16:creationId xmlns:a16="http://schemas.microsoft.com/office/drawing/2014/main" id="{0572DDBC-5081-4052-A0FB-FA7C134BD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1">
                <a:extLst>
                  <a:ext uri="{FF2B5EF4-FFF2-40B4-BE49-F238E27FC236}">
                    <a16:creationId xmlns:a16="http://schemas.microsoft.com/office/drawing/2014/main" id="{2560209B-685D-45F9-A34D-C5269A58C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3">
                <a:extLst>
                  <a:ext uri="{FF2B5EF4-FFF2-40B4-BE49-F238E27FC236}">
                    <a16:creationId xmlns:a16="http://schemas.microsoft.com/office/drawing/2014/main" id="{3DD4D816-6041-44A2-A9F6-33DB5921E7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5">
                <a:extLst>
                  <a:ext uri="{FF2B5EF4-FFF2-40B4-BE49-F238E27FC236}">
                    <a16:creationId xmlns:a16="http://schemas.microsoft.com/office/drawing/2014/main" id="{6B1D8A8E-71C7-4161-8CD3-A629C57A1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7">
                <a:extLst>
                  <a:ext uri="{FF2B5EF4-FFF2-40B4-BE49-F238E27FC236}">
                    <a16:creationId xmlns:a16="http://schemas.microsoft.com/office/drawing/2014/main" id="{74B440EB-AC49-4EC2-9CBD-2849175CF7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9">
                <a:extLst>
                  <a:ext uri="{FF2B5EF4-FFF2-40B4-BE49-F238E27FC236}">
                    <a16:creationId xmlns:a16="http://schemas.microsoft.com/office/drawing/2014/main" id="{0C5FEDE0-5298-434E-B7E5-D504A0DB72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id="{EB4D944F-EB7F-49C6-BE11-EB7956397AF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147">
              <a:extLst>
                <a:ext uri="{FF2B5EF4-FFF2-40B4-BE49-F238E27FC236}">
                  <a16:creationId xmlns:a16="http://schemas.microsoft.com/office/drawing/2014/main" id="{A4BB5A9C-C820-4B9B-956E-74B19D9503A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6">
              <a:extLst>
                <a:ext uri="{FF2B5EF4-FFF2-40B4-BE49-F238E27FC236}">
                  <a16:creationId xmlns:a16="http://schemas.microsoft.com/office/drawing/2014/main" id="{0DE8733A-6F93-4FB9-8437-A731F7F35C0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4">
              <a:extLst>
                <a:ext uri="{FF2B5EF4-FFF2-40B4-BE49-F238E27FC236}">
                  <a16:creationId xmlns:a16="http://schemas.microsoft.com/office/drawing/2014/main" id="{20F2E34F-C02A-4396-B7FF-6913A5106B7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4">
              <a:extLst>
                <a:ext uri="{FF2B5EF4-FFF2-40B4-BE49-F238E27FC236}">
                  <a16:creationId xmlns:a16="http://schemas.microsoft.com/office/drawing/2014/main" id="{CA367BBF-B7DD-4B0F-909C-6EE5724714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35">
              <a:extLst>
                <a:ext uri="{FF2B5EF4-FFF2-40B4-BE49-F238E27FC236}">
                  <a16:creationId xmlns:a16="http://schemas.microsoft.com/office/drawing/2014/main" id="{F8DB4315-77A0-4D57-A5F7-8F1B3492483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05">
              <a:extLst>
                <a:ext uri="{FF2B5EF4-FFF2-40B4-BE49-F238E27FC236}">
                  <a16:creationId xmlns:a16="http://schemas.microsoft.com/office/drawing/2014/main" id="{F01FAF5A-9253-48D5-B854-585C038BC0E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57">
              <a:extLst>
                <a:ext uri="{FF2B5EF4-FFF2-40B4-BE49-F238E27FC236}">
                  <a16:creationId xmlns:a16="http://schemas.microsoft.com/office/drawing/2014/main" id="{D3317CC3-C8AD-4E01-9102-E810D4CD36E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699F6514-98E6-4EE9-9536-8079F9F3600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AE16F62-F5E1-456A-A206-79680389C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0"/>
            <a:ext cx="8455544" cy="4324909"/>
          </a:xfrm>
          <a:custGeom>
            <a:avLst/>
            <a:gdLst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40909 h 4324909"/>
              <a:gd name="connsiteX6" fmla="*/ 8455544 w 8455544"/>
              <a:gd name="connsiteY6" fmla="*/ 2097324 h 4324909"/>
              <a:gd name="connsiteX7" fmla="*/ 6412976 w 8455544"/>
              <a:gd name="connsiteY7" fmla="*/ 4324909 h 4324909"/>
              <a:gd name="connsiteX8" fmla="*/ 6287311 w 8455544"/>
              <a:gd name="connsiteY8" fmla="*/ 4324909 h 4324909"/>
              <a:gd name="connsiteX9" fmla="*/ 6225541 w 8455544"/>
              <a:gd name="connsiteY9" fmla="*/ 4324909 h 4324909"/>
              <a:gd name="connsiteX10" fmla="*/ 6213424 w 8455544"/>
              <a:gd name="connsiteY10" fmla="*/ 4324909 h 4324909"/>
              <a:gd name="connsiteX11" fmla="*/ 6115102 w 8455544"/>
              <a:gd name="connsiteY11" fmla="*/ 4324909 h 4324909"/>
              <a:gd name="connsiteX12" fmla="*/ 5988854 w 8455544"/>
              <a:gd name="connsiteY12" fmla="*/ 4324909 h 4324909"/>
              <a:gd name="connsiteX13" fmla="*/ 5831190 w 8455544"/>
              <a:gd name="connsiteY13" fmla="*/ 4324909 h 4324909"/>
              <a:gd name="connsiteX14" fmla="*/ 5638619 w 8455544"/>
              <a:gd name="connsiteY14" fmla="*/ 4324909 h 4324909"/>
              <a:gd name="connsiteX15" fmla="*/ 5407650 w 8455544"/>
              <a:gd name="connsiteY15" fmla="*/ 4324909 h 4324909"/>
              <a:gd name="connsiteX16" fmla="*/ 5134793 w 8455544"/>
              <a:gd name="connsiteY16" fmla="*/ 4324909 h 4324909"/>
              <a:gd name="connsiteX17" fmla="*/ 4816556 w 8455544"/>
              <a:gd name="connsiteY17" fmla="*/ 4324909 h 4324909"/>
              <a:gd name="connsiteX18" fmla="*/ 4449449 w 8455544"/>
              <a:gd name="connsiteY18" fmla="*/ 4324909 h 4324909"/>
              <a:gd name="connsiteX19" fmla="*/ 4029981 w 8455544"/>
              <a:gd name="connsiteY19" fmla="*/ 4324909 h 4324909"/>
              <a:gd name="connsiteX20" fmla="*/ 0 w 8455544"/>
              <a:gd name="connsiteY20" fmla="*/ 4324909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2097324 h 4324909"/>
              <a:gd name="connsiteX6" fmla="*/ 6412976 w 8455544"/>
              <a:gd name="connsiteY6" fmla="*/ 4324909 h 4324909"/>
              <a:gd name="connsiteX7" fmla="*/ 6287311 w 8455544"/>
              <a:gd name="connsiteY7" fmla="*/ 4324909 h 4324909"/>
              <a:gd name="connsiteX8" fmla="*/ 6225541 w 8455544"/>
              <a:gd name="connsiteY8" fmla="*/ 4324909 h 4324909"/>
              <a:gd name="connsiteX9" fmla="*/ 6213424 w 8455544"/>
              <a:gd name="connsiteY9" fmla="*/ 4324909 h 4324909"/>
              <a:gd name="connsiteX10" fmla="*/ 6115102 w 8455544"/>
              <a:gd name="connsiteY10" fmla="*/ 4324909 h 4324909"/>
              <a:gd name="connsiteX11" fmla="*/ 5988854 w 8455544"/>
              <a:gd name="connsiteY11" fmla="*/ 4324909 h 4324909"/>
              <a:gd name="connsiteX12" fmla="*/ 5831190 w 8455544"/>
              <a:gd name="connsiteY12" fmla="*/ 4324909 h 4324909"/>
              <a:gd name="connsiteX13" fmla="*/ 5638619 w 8455544"/>
              <a:gd name="connsiteY13" fmla="*/ 4324909 h 4324909"/>
              <a:gd name="connsiteX14" fmla="*/ 5407650 w 8455544"/>
              <a:gd name="connsiteY14" fmla="*/ 4324909 h 4324909"/>
              <a:gd name="connsiteX15" fmla="*/ 5134793 w 8455544"/>
              <a:gd name="connsiteY15" fmla="*/ 4324909 h 4324909"/>
              <a:gd name="connsiteX16" fmla="*/ 4816556 w 8455544"/>
              <a:gd name="connsiteY16" fmla="*/ 4324909 h 4324909"/>
              <a:gd name="connsiteX17" fmla="*/ 4449449 w 8455544"/>
              <a:gd name="connsiteY17" fmla="*/ 4324909 h 4324909"/>
              <a:gd name="connsiteX18" fmla="*/ 4029981 w 8455544"/>
              <a:gd name="connsiteY18" fmla="*/ 4324909 h 4324909"/>
              <a:gd name="connsiteX19" fmla="*/ 0 w 8455544"/>
              <a:gd name="connsiteY19" fmla="*/ 4324909 h 4324909"/>
              <a:gd name="connsiteX20" fmla="*/ 0 w 8455544"/>
              <a:gd name="connsiteY20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4 w 8455544"/>
              <a:gd name="connsiteY4" fmla="*/ 2097324 h 4324909"/>
              <a:gd name="connsiteX5" fmla="*/ 6412976 w 8455544"/>
              <a:gd name="connsiteY5" fmla="*/ 4324909 h 4324909"/>
              <a:gd name="connsiteX6" fmla="*/ 6287311 w 8455544"/>
              <a:gd name="connsiteY6" fmla="*/ 4324909 h 4324909"/>
              <a:gd name="connsiteX7" fmla="*/ 6225541 w 8455544"/>
              <a:gd name="connsiteY7" fmla="*/ 4324909 h 4324909"/>
              <a:gd name="connsiteX8" fmla="*/ 6213424 w 8455544"/>
              <a:gd name="connsiteY8" fmla="*/ 4324909 h 4324909"/>
              <a:gd name="connsiteX9" fmla="*/ 6115102 w 8455544"/>
              <a:gd name="connsiteY9" fmla="*/ 4324909 h 4324909"/>
              <a:gd name="connsiteX10" fmla="*/ 5988854 w 8455544"/>
              <a:gd name="connsiteY10" fmla="*/ 4324909 h 4324909"/>
              <a:gd name="connsiteX11" fmla="*/ 5831190 w 8455544"/>
              <a:gd name="connsiteY11" fmla="*/ 4324909 h 4324909"/>
              <a:gd name="connsiteX12" fmla="*/ 5638619 w 8455544"/>
              <a:gd name="connsiteY12" fmla="*/ 4324909 h 4324909"/>
              <a:gd name="connsiteX13" fmla="*/ 5407650 w 8455544"/>
              <a:gd name="connsiteY13" fmla="*/ 4324909 h 4324909"/>
              <a:gd name="connsiteX14" fmla="*/ 5134793 w 8455544"/>
              <a:gd name="connsiteY14" fmla="*/ 4324909 h 4324909"/>
              <a:gd name="connsiteX15" fmla="*/ 4816556 w 8455544"/>
              <a:gd name="connsiteY15" fmla="*/ 4324909 h 4324909"/>
              <a:gd name="connsiteX16" fmla="*/ 4449449 w 8455544"/>
              <a:gd name="connsiteY16" fmla="*/ 4324909 h 4324909"/>
              <a:gd name="connsiteX17" fmla="*/ 4029981 w 8455544"/>
              <a:gd name="connsiteY17" fmla="*/ 4324909 h 4324909"/>
              <a:gd name="connsiteX18" fmla="*/ 0 w 8455544"/>
              <a:gd name="connsiteY18" fmla="*/ 4324909 h 4324909"/>
              <a:gd name="connsiteX19" fmla="*/ 0 w 8455544"/>
              <a:gd name="connsiteY19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8455543 w 8455544"/>
              <a:gd name="connsiteY2" fmla="*/ 0 h 4324909"/>
              <a:gd name="connsiteX3" fmla="*/ 8455544 w 8455544"/>
              <a:gd name="connsiteY3" fmla="*/ 2097324 h 4324909"/>
              <a:gd name="connsiteX4" fmla="*/ 6412976 w 8455544"/>
              <a:gd name="connsiteY4" fmla="*/ 4324909 h 4324909"/>
              <a:gd name="connsiteX5" fmla="*/ 6287311 w 8455544"/>
              <a:gd name="connsiteY5" fmla="*/ 4324909 h 4324909"/>
              <a:gd name="connsiteX6" fmla="*/ 6225541 w 8455544"/>
              <a:gd name="connsiteY6" fmla="*/ 4324909 h 4324909"/>
              <a:gd name="connsiteX7" fmla="*/ 6213424 w 8455544"/>
              <a:gd name="connsiteY7" fmla="*/ 4324909 h 4324909"/>
              <a:gd name="connsiteX8" fmla="*/ 6115102 w 8455544"/>
              <a:gd name="connsiteY8" fmla="*/ 4324909 h 4324909"/>
              <a:gd name="connsiteX9" fmla="*/ 5988854 w 8455544"/>
              <a:gd name="connsiteY9" fmla="*/ 4324909 h 4324909"/>
              <a:gd name="connsiteX10" fmla="*/ 5831190 w 8455544"/>
              <a:gd name="connsiteY10" fmla="*/ 4324909 h 4324909"/>
              <a:gd name="connsiteX11" fmla="*/ 5638619 w 8455544"/>
              <a:gd name="connsiteY11" fmla="*/ 4324909 h 4324909"/>
              <a:gd name="connsiteX12" fmla="*/ 5407650 w 8455544"/>
              <a:gd name="connsiteY12" fmla="*/ 4324909 h 4324909"/>
              <a:gd name="connsiteX13" fmla="*/ 5134793 w 8455544"/>
              <a:gd name="connsiteY13" fmla="*/ 4324909 h 4324909"/>
              <a:gd name="connsiteX14" fmla="*/ 4816556 w 8455544"/>
              <a:gd name="connsiteY14" fmla="*/ 4324909 h 4324909"/>
              <a:gd name="connsiteX15" fmla="*/ 4449449 w 8455544"/>
              <a:gd name="connsiteY15" fmla="*/ 4324909 h 4324909"/>
              <a:gd name="connsiteX16" fmla="*/ 4029981 w 8455544"/>
              <a:gd name="connsiteY16" fmla="*/ 4324909 h 4324909"/>
              <a:gd name="connsiteX17" fmla="*/ 0 w 8455544"/>
              <a:gd name="connsiteY17" fmla="*/ 4324909 h 4324909"/>
              <a:gd name="connsiteX18" fmla="*/ 0 w 8455544"/>
              <a:gd name="connsiteY1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638619 w 8455544"/>
              <a:gd name="connsiteY10" fmla="*/ 4324909 h 4324909"/>
              <a:gd name="connsiteX11" fmla="*/ 5407650 w 8455544"/>
              <a:gd name="connsiteY11" fmla="*/ 4324909 h 4324909"/>
              <a:gd name="connsiteX12" fmla="*/ 5134793 w 8455544"/>
              <a:gd name="connsiteY12" fmla="*/ 4324909 h 4324909"/>
              <a:gd name="connsiteX13" fmla="*/ 4816556 w 8455544"/>
              <a:gd name="connsiteY13" fmla="*/ 4324909 h 4324909"/>
              <a:gd name="connsiteX14" fmla="*/ 4449449 w 8455544"/>
              <a:gd name="connsiteY14" fmla="*/ 4324909 h 4324909"/>
              <a:gd name="connsiteX15" fmla="*/ 4029981 w 8455544"/>
              <a:gd name="connsiteY15" fmla="*/ 4324909 h 4324909"/>
              <a:gd name="connsiteX16" fmla="*/ 0 w 8455544"/>
              <a:gd name="connsiteY16" fmla="*/ 4324909 h 4324909"/>
              <a:gd name="connsiteX17" fmla="*/ 0 w 8455544"/>
              <a:gd name="connsiteY1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407650 w 8455544"/>
              <a:gd name="connsiteY10" fmla="*/ 4324909 h 4324909"/>
              <a:gd name="connsiteX11" fmla="*/ 5134793 w 8455544"/>
              <a:gd name="connsiteY11" fmla="*/ 4324909 h 4324909"/>
              <a:gd name="connsiteX12" fmla="*/ 4816556 w 8455544"/>
              <a:gd name="connsiteY12" fmla="*/ 4324909 h 4324909"/>
              <a:gd name="connsiteX13" fmla="*/ 4449449 w 8455544"/>
              <a:gd name="connsiteY13" fmla="*/ 4324909 h 4324909"/>
              <a:gd name="connsiteX14" fmla="*/ 4029981 w 8455544"/>
              <a:gd name="connsiteY14" fmla="*/ 4324909 h 4324909"/>
              <a:gd name="connsiteX15" fmla="*/ 0 w 8455544"/>
              <a:gd name="connsiteY15" fmla="*/ 4324909 h 4324909"/>
              <a:gd name="connsiteX16" fmla="*/ 0 w 8455544"/>
              <a:gd name="connsiteY1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831190 w 8455544"/>
              <a:gd name="connsiteY8" fmla="*/ 4324909 h 4324909"/>
              <a:gd name="connsiteX9" fmla="*/ 5407650 w 8455544"/>
              <a:gd name="connsiteY9" fmla="*/ 4324909 h 4324909"/>
              <a:gd name="connsiteX10" fmla="*/ 5134793 w 8455544"/>
              <a:gd name="connsiteY10" fmla="*/ 4324909 h 4324909"/>
              <a:gd name="connsiteX11" fmla="*/ 4816556 w 8455544"/>
              <a:gd name="connsiteY11" fmla="*/ 4324909 h 4324909"/>
              <a:gd name="connsiteX12" fmla="*/ 4449449 w 8455544"/>
              <a:gd name="connsiteY12" fmla="*/ 4324909 h 4324909"/>
              <a:gd name="connsiteX13" fmla="*/ 4029981 w 8455544"/>
              <a:gd name="connsiteY13" fmla="*/ 4324909 h 4324909"/>
              <a:gd name="connsiteX14" fmla="*/ 0 w 8455544"/>
              <a:gd name="connsiteY14" fmla="*/ 4324909 h 4324909"/>
              <a:gd name="connsiteX15" fmla="*/ 0 w 8455544"/>
              <a:gd name="connsiteY15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5831190 w 8455544"/>
              <a:gd name="connsiteY7" fmla="*/ 4324909 h 4324909"/>
              <a:gd name="connsiteX8" fmla="*/ 5407650 w 8455544"/>
              <a:gd name="connsiteY8" fmla="*/ 4324909 h 4324909"/>
              <a:gd name="connsiteX9" fmla="*/ 5134793 w 8455544"/>
              <a:gd name="connsiteY9" fmla="*/ 4324909 h 4324909"/>
              <a:gd name="connsiteX10" fmla="*/ 4816556 w 8455544"/>
              <a:gd name="connsiteY10" fmla="*/ 4324909 h 4324909"/>
              <a:gd name="connsiteX11" fmla="*/ 4449449 w 8455544"/>
              <a:gd name="connsiteY11" fmla="*/ 4324909 h 4324909"/>
              <a:gd name="connsiteX12" fmla="*/ 4029981 w 8455544"/>
              <a:gd name="connsiteY12" fmla="*/ 4324909 h 4324909"/>
              <a:gd name="connsiteX13" fmla="*/ 0 w 8455544"/>
              <a:gd name="connsiteY13" fmla="*/ 4324909 h 4324909"/>
              <a:gd name="connsiteX14" fmla="*/ 0 w 8455544"/>
              <a:gd name="connsiteY14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5831190 w 8455544"/>
              <a:gd name="connsiteY6" fmla="*/ 4324909 h 4324909"/>
              <a:gd name="connsiteX7" fmla="*/ 5407650 w 8455544"/>
              <a:gd name="connsiteY7" fmla="*/ 4324909 h 4324909"/>
              <a:gd name="connsiteX8" fmla="*/ 5134793 w 8455544"/>
              <a:gd name="connsiteY8" fmla="*/ 4324909 h 4324909"/>
              <a:gd name="connsiteX9" fmla="*/ 4816556 w 8455544"/>
              <a:gd name="connsiteY9" fmla="*/ 4324909 h 4324909"/>
              <a:gd name="connsiteX10" fmla="*/ 4449449 w 8455544"/>
              <a:gd name="connsiteY10" fmla="*/ 4324909 h 4324909"/>
              <a:gd name="connsiteX11" fmla="*/ 4029981 w 8455544"/>
              <a:gd name="connsiteY11" fmla="*/ 4324909 h 4324909"/>
              <a:gd name="connsiteX12" fmla="*/ 0 w 8455544"/>
              <a:gd name="connsiteY12" fmla="*/ 4324909 h 4324909"/>
              <a:gd name="connsiteX13" fmla="*/ 0 w 8455544"/>
              <a:gd name="connsiteY13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5831190 w 8455544"/>
              <a:gd name="connsiteY5" fmla="*/ 4324909 h 4324909"/>
              <a:gd name="connsiteX6" fmla="*/ 5407650 w 8455544"/>
              <a:gd name="connsiteY6" fmla="*/ 4324909 h 4324909"/>
              <a:gd name="connsiteX7" fmla="*/ 5134793 w 8455544"/>
              <a:gd name="connsiteY7" fmla="*/ 4324909 h 4324909"/>
              <a:gd name="connsiteX8" fmla="*/ 4816556 w 8455544"/>
              <a:gd name="connsiteY8" fmla="*/ 4324909 h 4324909"/>
              <a:gd name="connsiteX9" fmla="*/ 4449449 w 8455544"/>
              <a:gd name="connsiteY9" fmla="*/ 4324909 h 4324909"/>
              <a:gd name="connsiteX10" fmla="*/ 4029981 w 8455544"/>
              <a:gd name="connsiteY10" fmla="*/ 4324909 h 4324909"/>
              <a:gd name="connsiteX11" fmla="*/ 0 w 8455544"/>
              <a:gd name="connsiteY11" fmla="*/ 4324909 h 4324909"/>
              <a:gd name="connsiteX12" fmla="*/ 0 w 8455544"/>
              <a:gd name="connsiteY12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831190 w 8455544"/>
              <a:gd name="connsiteY4" fmla="*/ 4324909 h 4324909"/>
              <a:gd name="connsiteX5" fmla="*/ 5407650 w 8455544"/>
              <a:gd name="connsiteY5" fmla="*/ 4324909 h 4324909"/>
              <a:gd name="connsiteX6" fmla="*/ 5134793 w 8455544"/>
              <a:gd name="connsiteY6" fmla="*/ 4324909 h 4324909"/>
              <a:gd name="connsiteX7" fmla="*/ 4816556 w 8455544"/>
              <a:gd name="connsiteY7" fmla="*/ 4324909 h 4324909"/>
              <a:gd name="connsiteX8" fmla="*/ 4449449 w 8455544"/>
              <a:gd name="connsiteY8" fmla="*/ 4324909 h 4324909"/>
              <a:gd name="connsiteX9" fmla="*/ 4029981 w 8455544"/>
              <a:gd name="connsiteY9" fmla="*/ 4324909 h 4324909"/>
              <a:gd name="connsiteX10" fmla="*/ 0 w 8455544"/>
              <a:gd name="connsiteY10" fmla="*/ 4324909 h 4324909"/>
              <a:gd name="connsiteX11" fmla="*/ 0 w 8455544"/>
              <a:gd name="connsiteY11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407650 w 8455544"/>
              <a:gd name="connsiteY4" fmla="*/ 4324909 h 4324909"/>
              <a:gd name="connsiteX5" fmla="*/ 5134793 w 8455544"/>
              <a:gd name="connsiteY5" fmla="*/ 4324909 h 4324909"/>
              <a:gd name="connsiteX6" fmla="*/ 4816556 w 8455544"/>
              <a:gd name="connsiteY6" fmla="*/ 4324909 h 4324909"/>
              <a:gd name="connsiteX7" fmla="*/ 4449449 w 8455544"/>
              <a:gd name="connsiteY7" fmla="*/ 4324909 h 4324909"/>
              <a:gd name="connsiteX8" fmla="*/ 4029981 w 8455544"/>
              <a:gd name="connsiteY8" fmla="*/ 4324909 h 4324909"/>
              <a:gd name="connsiteX9" fmla="*/ 0 w 8455544"/>
              <a:gd name="connsiteY9" fmla="*/ 4324909 h 4324909"/>
              <a:gd name="connsiteX10" fmla="*/ 0 w 8455544"/>
              <a:gd name="connsiteY10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134793 w 8455544"/>
              <a:gd name="connsiteY4" fmla="*/ 4324909 h 4324909"/>
              <a:gd name="connsiteX5" fmla="*/ 4816556 w 8455544"/>
              <a:gd name="connsiteY5" fmla="*/ 4324909 h 4324909"/>
              <a:gd name="connsiteX6" fmla="*/ 4449449 w 8455544"/>
              <a:gd name="connsiteY6" fmla="*/ 4324909 h 4324909"/>
              <a:gd name="connsiteX7" fmla="*/ 4029981 w 8455544"/>
              <a:gd name="connsiteY7" fmla="*/ 4324909 h 4324909"/>
              <a:gd name="connsiteX8" fmla="*/ 0 w 8455544"/>
              <a:gd name="connsiteY8" fmla="*/ 4324909 h 4324909"/>
              <a:gd name="connsiteX9" fmla="*/ 0 w 8455544"/>
              <a:gd name="connsiteY9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816556 w 8455544"/>
              <a:gd name="connsiteY4" fmla="*/ 4324909 h 4324909"/>
              <a:gd name="connsiteX5" fmla="*/ 4449449 w 8455544"/>
              <a:gd name="connsiteY5" fmla="*/ 4324909 h 4324909"/>
              <a:gd name="connsiteX6" fmla="*/ 4029981 w 8455544"/>
              <a:gd name="connsiteY6" fmla="*/ 4324909 h 4324909"/>
              <a:gd name="connsiteX7" fmla="*/ 0 w 8455544"/>
              <a:gd name="connsiteY7" fmla="*/ 4324909 h 4324909"/>
              <a:gd name="connsiteX8" fmla="*/ 0 w 8455544"/>
              <a:gd name="connsiteY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449449 w 8455544"/>
              <a:gd name="connsiteY4" fmla="*/ 4324909 h 4324909"/>
              <a:gd name="connsiteX5" fmla="*/ 4029981 w 8455544"/>
              <a:gd name="connsiteY5" fmla="*/ 4324909 h 4324909"/>
              <a:gd name="connsiteX6" fmla="*/ 0 w 8455544"/>
              <a:gd name="connsiteY6" fmla="*/ 4324909 h 4324909"/>
              <a:gd name="connsiteX7" fmla="*/ 0 w 8455544"/>
              <a:gd name="connsiteY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029981 w 8455544"/>
              <a:gd name="connsiteY4" fmla="*/ 4324909 h 4324909"/>
              <a:gd name="connsiteX5" fmla="*/ 0 w 8455544"/>
              <a:gd name="connsiteY5" fmla="*/ 4324909 h 4324909"/>
              <a:gd name="connsiteX6" fmla="*/ 0 w 8455544"/>
              <a:gd name="connsiteY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0 w 8455544"/>
              <a:gd name="connsiteY4" fmla="*/ 4324909 h 4324909"/>
              <a:gd name="connsiteX5" fmla="*/ 0 w 8455544"/>
              <a:gd name="connsiteY5" fmla="*/ 0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55544" h="4324909">
                <a:moveTo>
                  <a:pt x="0" y="0"/>
                </a:moveTo>
                <a:lnTo>
                  <a:pt x="8455543" y="0"/>
                </a:lnTo>
                <a:cubicBezTo>
                  <a:pt x="8455543" y="699108"/>
                  <a:pt x="8455544" y="1398216"/>
                  <a:pt x="8455544" y="2097324"/>
                </a:cubicBezTo>
                <a:cubicBezTo>
                  <a:pt x="8455544" y="3206362"/>
                  <a:pt x="7784901" y="4324909"/>
                  <a:pt x="6412976" y="4324909"/>
                </a:cubicBezTo>
                <a:lnTo>
                  <a:pt x="0" y="4324909"/>
                </a:ln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F425F3A2-8737-4429-8D80-098BE65C5684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E6F106-5B52-456C-A0B4-EC147835DE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BDB07C-8ACF-4308-838D-6477B8930B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id="{CD707E86-C324-4372-8A6F-1251453D8D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523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5537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id="{4923841A-A525-4595-8B71-13FC671D87DC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A9B9B6C4-01B7-4938-922E-E4AD4497C0E1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2" name="Line 147">
                <a:extLst>
                  <a:ext uri="{FF2B5EF4-FFF2-40B4-BE49-F238E27FC236}">
                    <a16:creationId xmlns:a16="http://schemas.microsoft.com/office/drawing/2014/main" id="{0E407E09-AFB6-44C1-A352-4D3F8CA5B4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49">
                <a:extLst>
                  <a:ext uri="{FF2B5EF4-FFF2-40B4-BE49-F238E27FC236}">
                    <a16:creationId xmlns:a16="http://schemas.microsoft.com/office/drawing/2014/main" id="{AB3FA809-41B7-4764-960B-67129BC3F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51">
                <a:extLst>
                  <a:ext uri="{FF2B5EF4-FFF2-40B4-BE49-F238E27FC236}">
                    <a16:creationId xmlns:a16="http://schemas.microsoft.com/office/drawing/2014/main" id="{68B3757F-7401-46B5-B8C7-467EFF0329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53">
                <a:extLst>
                  <a:ext uri="{FF2B5EF4-FFF2-40B4-BE49-F238E27FC236}">
                    <a16:creationId xmlns:a16="http://schemas.microsoft.com/office/drawing/2014/main" id="{9C4C88EC-38A4-4AF2-8778-B1F4C14637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5">
                <a:extLst>
                  <a:ext uri="{FF2B5EF4-FFF2-40B4-BE49-F238E27FC236}">
                    <a16:creationId xmlns:a16="http://schemas.microsoft.com/office/drawing/2014/main" id="{E599A906-8B5F-4272-87A4-9D7A2A3D8C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7">
                <a:extLst>
                  <a:ext uri="{FF2B5EF4-FFF2-40B4-BE49-F238E27FC236}">
                    <a16:creationId xmlns:a16="http://schemas.microsoft.com/office/drawing/2014/main" id="{BFB63801-7E3B-4A24-9B57-1FD1D0D93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9">
                <a:extLst>
                  <a:ext uri="{FF2B5EF4-FFF2-40B4-BE49-F238E27FC236}">
                    <a16:creationId xmlns:a16="http://schemas.microsoft.com/office/drawing/2014/main" id="{16FF481B-604D-490B-A7AF-E50294C2DB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61">
                <a:extLst>
                  <a:ext uri="{FF2B5EF4-FFF2-40B4-BE49-F238E27FC236}">
                    <a16:creationId xmlns:a16="http://schemas.microsoft.com/office/drawing/2014/main" id="{D264367E-6905-4C3C-B1B5-E976C1AE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63">
                <a:extLst>
                  <a:ext uri="{FF2B5EF4-FFF2-40B4-BE49-F238E27FC236}">
                    <a16:creationId xmlns:a16="http://schemas.microsoft.com/office/drawing/2014/main" id="{42AD3323-103A-4DD3-BB72-2405AABA26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5">
                <a:extLst>
                  <a:ext uri="{FF2B5EF4-FFF2-40B4-BE49-F238E27FC236}">
                    <a16:creationId xmlns:a16="http://schemas.microsoft.com/office/drawing/2014/main" id="{FB1C619F-8D37-4A2D-8F76-1B3144F5CC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7">
                <a:extLst>
                  <a:ext uri="{FF2B5EF4-FFF2-40B4-BE49-F238E27FC236}">
                    <a16:creationId xmlns:a16="http://schemas.microsoft.com/office/drawing/2014/main" id="{9363453D-D05A-43F3-A45D-063891B05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9">
                <a:extLst>
                  <a:ext uri="{FF2B5EF4-FFF2-40B4-BE49-F238E27FC236}">
                    <a16:creationId xmlns:a16="http://schemas.microsoft.com/office/drawing/2014/main" id="{2075D126-2DE6-4EFA-A7B7-BA0C1304A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71">
                <a:extLst>
                  <a:ext uri="{FF2B5EF4-FFF2-40B4-BE49-F238E27FC236}">
                    <a16:creationId xmlns:a16="http://schemas.microsoft.com/office/drawing/2014/main" id="{B788F622-2AFB-4B38-BEF2-654EB8FCE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73">
                <a:extLst>
                  <a:ext uri="{FF2B5EF4-FFF2-40B4-BE49-F238E27FC236}">
                    <a16:creationId xmlns:a16="http://schemas.microsoft.com/office/drawing/2014/main" id="{9A2C4701-ABAD-4FCC-B1E5-BE52FBC65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5">
                <a:extLst>
                  <a:ext uri="{FF2B5EF4-FFF2-40B4-BE49-F238E27FC236}">
                    <a16:creationId xmlns:a16="http://schemas.microsoft.com/office/drawing/2014/main" id="{3ECE83E5-FA5D-4CAC-B06A-31209E80A4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7">
                <a:extLst>
                  <a:ext uri="{FF2B5EF4-FFF2-40B4-BE49-F238E27FC236}">
                    <a16:creationId xmlns:a16="http://schemas.microsoft.com/office/drawing/2014/main" id="{DD79595D-5642-4918-9E3C-FEEAC2F49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9">
                <a:extLst>
                  <a:ext uri="{FF2B5EF4-FFF2-40B4-BE49-F238E27FC236}">
                    <a16:creationId xmlns:a16="http://schemas.microsoft.com/office/drawing/2014/main" id="{778C0B81-73B4-45FC-B73D-635F37245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81">
                <a:extLst>
                  <a:ext uri="{FF2B5EF4-FFF2-40B4-BE49-F238E27FC236}">
                    <a16:creationId xmlns:a16="http://schemas.microsoft.com/office/drawing/2014/main" id="{A375CFDA-7962-4072-A702-39B0F0D948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83">
                <a:extLst>
                  <a:ext uri="{FF2B5EF4-FFF2-40B4-BE49-F238E27FC236}">
                    <a16:creationId xmlns:a16="http://schemas.microsoft.com/office/drawing/2014/main" id="{AA340784-6375-4EC3-8233-EFF46227F2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5">
                <a:extLst>
                  <a:ext uri="{FF2B5EF4-FFF2-40B4-BE49-F238E27FC236}">
                    <a16:creationId xmlns:a16="http://schemas.microsoft.com/office/drawing/2014/main" id="{827A8E88-C763-4D0B-8D53-B785BFC1C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7">
                <a:extLst>
                  <a:ext uri="{FF2B5EF4-FFF2-40B4-BE49-F238E27FC236}">
                    <a16:creationId xmlns:a16="http://schemas.microsoft.com/office/drawing/2014/main" id="{7BCC1FAE-7D1A-4D04-A567-FA09368102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9">
                <a:extLst>
                  <a:ext uri="{FF2B5EF4-FFF2-40B4-BE49-F238E27FC236}">
                    <a16:creationId xmlns:a16="http://schemas.microsoft.com/office/drawing/2014/main" id="{A3D3DA53-58A5-487E-9BA8-E0CF5B71C7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91">
                <a:extLst>
                  <a:ext uri="{FF2B5EF4-FFF2-40B4-BE49-F238E27FC236}">
                    <a16:creationId xmlns:a16="http://schemas.microsoft.com/office/drawing/2014/main" id="{50F2A39E-E976-406E-B78E-489B620F5B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93">
                <a:extLst>
                  <a:ext uri="{FF2B5EF4-FFF2-40B4-BE49-F238E27FC236}">
                    <a16:creationId xmlns:a16="http://schemas.microsoft.com/office/drawing/2014/main" id="{58E4C3FC-A44A-4630-AB16-D60471FCEE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5">
                <a:extLst>
                  <a:ext uri="{FF2B5EF4-FFF2-40B4-BE49-F238E27FC236}">
                    <a16:creationId xmlns:a16="http://schemas.microsoft.com/office/drawing/2014/main" id="{2889074E-7ED9-4AD3-89CF-45BFDDF36F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7">
                <a:extLst>
                  <a:ext uri="{FF2B5EF4-FFF2-40B4-BE49-F238E27FC236}">
                    <a16:creationId xmlns:a16="http://schemas.microsoft.com/office/drawing/2014/main" id="{71B416B9-BA9D-4AB9-B268-BE0E15CEF3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9">
                <a:extLst>
                  <a:ext uri="{FF2B5EF4-FFF2-40B4-BE49-F238E27FC236}">
                    <a16:creationId xmlns:a16="http://schemas.microsoft.com/office/drawing/2014/main" id="{CC9E85F4-954E-47BB-98A7-41E956D8F7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01">
                <a:extLst>
                  <a:ext uri="{FF2B5EF4-FFF2-40B4-BE49-F238E27FC236}">
                    <a16:creationId xmlns:a16="http://schemas.microsoft.com/office/drawing/2014/main" id="{7F73F6DA-7CBC-4651-80AC-1DA86DCE85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03">
                <a:extLst>
                  <a:ext uri="{FF2B5EF4-FFF2-40B4-BE49-F238E27FC236}">
                    <a16:creationId xmlns:a16="http://schemas.microsoft.com/office/drawing/2014/main" id="{D3A41833-7994-429F-9CE1-C04FF042E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5">
                <a:extLst>
                  <a:ext uri="{FF2B5EF4-FFF2-40B4-BE49-F238E27FC236}">
                    <a16:creationId xmlns:a16="http://schemas.microsoft.com/office/drawing/2014/main" id="{C551BBA4-9DC7-418D-9E42-544003E10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7">
                <a:extLst>
                  <a:ext uri="{FF2B5EF4-FFF2-40B4-BE49-F238E27FC236}">
                    <a16:creationId xmlns:a16="http://schemas.microsoft.com/office/drawing/2014/main" id="{2B93345F-8656-4FDF-AB98-A8AA5B504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9">
                <a:extLst>
                  <a:ext uri="{FF2B5EF4-FFF2-40B4-BE49-F238E27FC236}">
                    <a16:creationId xmlns:a16="http://schemas.microsoft.com/office/drawing/2014/main" id="{805C468A-E1E9-4773-8DC0-A7889520A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11">
                <a:extLst>
                  <a:ext uri="{FF2B5EF4-FFF2-40B4-BE49-F238E27FC236}">
                    <a16:creationId xmlns:a16="http://schemas.microsoft.com/office/drawing/2014/main" id="{5C85A1C8-95A0-49FD-9564-2FCCF33C0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13">
                <a:extLst>
                  <a:ext uri="{FF2B5EF4-FFF2-40B4-BE49-F238E27FC236}">
                    <a16:creationId xmlns:a16="http://schemas.microsoft.com/office/drawing/2014/main" id="{A2498A10-819C-4F36-81F0-6CE7666A9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5">
                <a:extLst>
                  <a:ext uri="{FF2B5EF4-FFF2-40B4-BE49-F238E27FC236}">
                    <a16:creationId xmlns:a16="http://schemas.microsoft.com/office/drawing/2014/main" id="{9E794993-0F2B-496D-AA9B-E52CD54D9A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17">
                <a:extLst>
                  <a:ext uri="{FF2B5EF4-FFF2-40B4-BE49-F238E27FC236}">
                    <a16:creationId xmlns:a16="http://schemas.microsoft.com/office/drawing/2014/main" id="{72F2809D-39E7-47DC-BF43-BC2EB8EFD4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19">
                <a:extLst>
                  <a:ext uri="{FF2B5EF4-FFF2-40B4-BE49-F238E27FC236}">
                    <a16:creationId xmlns:a16="http://schemas.microsoft.com/office/drawing/2014/main" id="{A39813AF-49FD-467A-BEC2-42C4846A1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21">
                <a:extLst>
                  <a:ext uri="{FF2B5EF4-FFF2-40B4-BE49-F238E27FC236}">
                    <a16:creationId xmlns:a16="http://schemas.microsoft.com/office/drawing/2014/main" id="{E8503BC1-3740-4658-9A00-0EF347A6F0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23">
                <a:extLst>
                  <a:ext uri="{FF2B5EF4-FFF2-40B4-BE49-F238E27FC236}">
                    <a16:creationId xmlns:a16="http://schemas.microsoft.com/office/drawing/2014/main" id="{7791C2A6-B9FC-477A-A932-924537336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25">
                <a:extLst>
                  <a:ext uri="{FF2B5EF4-FFF2-40B4-BE49-F238E27FC236}">
                    <a16:creationId xmlns:a16="http://schemas.microsoft.com/office/drawing/2014/main" id="{6D7D53E6-2427-4568-BA0D-28125E5BB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27">
                <a:extLst>
                  <a:ext uri="{FF2B5EF4-FFF2-40B4-BE49-F238E27FC236}">
                    <a16:creationId xmlns:a16="http://schemas.microsoft.com/office/drawing/2014/main" id="{36BC2CDC-526B-4909-A0D8-7726912E00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29">
                <a:extLst>
                  <a:ext uri="{FF2B5EF4-FFF2-40B4-BE49-F238E27FC236}">
                    <a16:creationId xmlns:a16="http://schemas.microsoft.com/office/drawing/2014/main" id="{D3C5CB8F-5646-45ED-AC1A-3F119D1702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6AEC89D2-1455-4220-9710-90B2EBE0851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0" name="Line 146">
                <a:extLst>
                  <a:ext uri="{FF2B5EF4-FFF2-40B4-BE49-F238E27FC236}">
                    <a16:creationId xmlns:a16="http://schemas.microsoft.com/office/drawing/2014/main" id="{8A023E26-8192-43FB-8A68-DC8ECE75F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48">
                <a:extLst>
                  <a:ext uri="{FF2B5EF4-FFF2-40B4-BE49-F238E27FC236}">
                    <a16:creationId xmlns:a16="http://schemas.microsoft.com/office/drawing/2014/main" id="{4E3E29AE-C782-464E-A62B-FC76C00B67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50">
                <a:extLst>
                  <a:ext uri="{FF2B5EF4-FFF2-40B4-BE49-F238E27FC236}">
                    <a16:creationId xmlns:a16="http://schemas.microsoft.com/office/drawing/2014/main" id="{01AE0618-4340-4B11-A186-E86EA8EFCB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52">
                <a:extLst>
                  <a:ext uri="{FF2B5EF4-FFF2-40B4-BE49-F238E27FC236}">
                    <a16:creationId xmlns:a16="http://schemas.microsoft.com/office/drawing/2014/main" id="{0C6DF681-C31C-4FCA-9810-4FE56A4AC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4">
                <a:extLst>
                  <a:ext uri="{FF2B5EF4-FFF2-40B4-BE49-F238E27FC236}">
                    <a16:creationId xmlns:a16="http://schemas.microsoft.com/office/drawing/2014/main" id="{C9A9DAA3-028A-4F58-B554-1D282C4E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6">
                <a:extLst>
                  <a:ext uri="{FF2B5EF4-FFF2-40B4-BE49-F238E27FC236}">
                    <a16:creationId xmlns:a16="http://schemas.microsoft.com/office/drawing/2014/main" id="{F7470714-5437-4D08-83E3-C34AF876F4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8">
                <a:extLst>
                  <a:ext uri="{FF2B5EF4-FFF2-40B4-BE49-F238E27FC236}">
                    <a16:creationId xmlns:a16="http://schemas.microsoft.com/office/drawing/2014/main" id="{0BB10D91-B72A-4FD8-A0E1-D12F5873F2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60">
                <a:extLst>
                  <a:ext uri="{FF2B5EF4-FFF2-40B4-BE49-F238E27FC236}">
                    <a16:creationId xmlns:a16="http://schemas.microsoft.com/office/drawing/2014/main" id="{F342DF15-3BCE-46D9-B915-231CF1AAAF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62">
                <a:extLst>
                  <a:ext uri="{FF2B5EF4-FFF2-40B4-BE49-F238E27FC236}">
                    <a16:creationId xmlns:a16="http://schemas.microsoft.com/office/drawing/2014/main" id="{DC5E28C2-DE91-4D24-AD32-119F0FB20C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4">
                <a:extLst>
                  <a:ext uri="{FF2B5EF4-FFF2-40B4-BE49-F238E27FC236}">
                    <a16:creationId xmlns:a16="http://schemas.microsoft.com/office/drawing/2014/main" id="{659066AE-592E-4C70-BB5A-ECE417408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6">
                <a:extLst>
                  <a:ext uri="{FF2B5EF4-FFF2-40B4-BE49-F238E27FC236}">
                    <a16:creationId xmlns:a16="http://schemas.microsoft.com/office/drawing/2014/main" id="{F4A15E54-A441-42CB-96B5-6FAF60A15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8">
                <a:extLst>
                  <a:ext uri="{FF2B5EF4-FFF2-40B4-BE49-F238E27FC236}">
                    <a16:creationId xmlns:a16="http://schemas.microsoft.com/office/drawing/2014/main" id="{343818C5-F3D8-4FA0-AB9A-3A82C2FAC0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70">
                <a:extLst>
                  <a:ext uri="{FF2B5EF4-FFF2-40B4-BE49-F238E27FC236}">
                    <a16:creationId xmlns:a16="http://schemas.microsoft.com/office/drawing/2014/main" id="{FA186418-989B-457C-8D0B-66B97C20E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72">
                <a:extLst>
                  <a:ext uri="{FF2B5EF4-FFF2-40B4-BE49-F238E27FC236}">
                    <a16:creationId xmlns:a16="http://schemas.microsoft.com/office/drawing/2014/main" id="{A9F76B5C-B912-457C-8B1B-A51D13374C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4">
                <a:extLst>
                  <a:ext uri="{FF2B5EF4-FFF2-40B4-BE49-F238E27FC236}">
                    <a16:creationId xmlns:a16="http://schemas.microsoft.com/office/drawing/2014/main" id="{F784485C-1BF0-4BDF-B8E4-45220F4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6">
                <a:extLst>
                  <a:ext uri="{FF2B5EF4-FFF2-40B4-BE49-F238E27FC236}">
                    <a16:creationId xmlns:a16="http://schemas.microsoft.com/office/drawing/2014/main" id="{A8539B72-BE93-4F5F-A8FE-6025B0603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8">
                <a:extLst>
                  <a:ext uri="{FF2B5EF4-FFF2-40B4-BE49-F238E27FC236}">
                    <a16:creationId xmlns:a16="http://schemas.microsoft.com/office/drawing/2014/main" id="{E5A3CEBD-32F0-4849-87E1-FB2A9D258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80">
                <a:extLst>
                  <a:ext uri="{FF2B5EF4-FFF2-40B4-BE49-F238E27FC236}">
                    <a16:creationId xmlns:a16="http://schemas.microsoft.com/office/drawing/2014/main" id="{8C7D0468-F71D-41F4-91B9-955A32CF27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82">
                <a:extLst>
                  <a:ext uri="{FF2B5EF4-FFF2-40B4-BE49-F238E27FC236}">
                    <a16:creationId xmlns:a16="http://schemas.microsoft.com/office/drawing/2014/main" id="{60147A8D-09A1-4E24-BC94-4EC00F334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4">
                <a:extLst>
                  <a:ext uri="{FF2B5EF4-FFF2-40B4-BE49-F238E27FC236}">
                    <a16:creationId xmlns:a16="http://schemas.microsoft.com/office/drawing/2014/main" id="{3C493625-F430-4686-929A-BD7EDED8C8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6">
                <a:extLst>
                  <a:ext uri="{FF2B5EF4-FFF2-40B4-BE49-F238E27FC236}">
                    <a16:creationId xmlns:a16="http://schemas.microsoft.com/office/drawing/2014/main" id="{F0DA06A7-1EC0-43A7-8B69-79879160F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8">
                <a:extLst>
                  <a:ext uri="{FF2B5EF4-FFF2-40B4-BE49-F238E27FC236}">
                    <a16:creationId xmlns:a16="http://schemas.microsoft.com/office/drawing/2014/main" id="{64BD184E-3E02-495E-9106-AAFAE363A9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90">
                <a:extLst>
                  <a:ext uri="{FF2B5EF4-FFF2-40B4-BE49-F238E27FC236}">
                    <a16:creationId xmlns:a16="http://schemas.microsoft.com/office/drawing/2014/main" id="{8CC90A18-B957-4480-8586-25B8B5BFB1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92">
                <a:extLst>
                  <a:ext uri="{FF2B5EF4-FFF2-40B4-BE49-F238E27FC236}">
                    <a16:creationId xmlns:a16="http://schemas.microsoft.com/office/drawing/2014/main" id="{F12CF7B2-E973-4955-BFEB-50B04502E9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4">
                <a:extLst>
                  <a:ext uri="{FF2B5EF4-FFF2-40B4-BE49-F238E27FC236}">
                    <a16:creationId xmlns:a16="http://schemas.microsoft.com/office/drawing/2014/main" id="{234485BB-0860-49B7-8E8A-9B6A5B00ED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6">
                <a:extLst>
                  <a:ext uri="{FF2B5EF4-FFF2-40B4-BE49-F238E27FC236}">
                    <a16:creationId xmlns:a16="http://schemas.microsoft.com/office/drawing/2014/main" id="{BC5C17A4-A0D8-4B0F-B98E-28F1BAD16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8">
                <a:extLst>
                  <a:ext uri="{FF2B5EF4-FFF2-40B4-BE49-F238E27FC236}">
                    <a16:creationId xmlns:a16="http://schemas.microsoft.com/office/drawing/2014/main" id="{F9006EDF-58FB-44B9-8F17-EEBE04475E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00">
                <a:extLst>
                  <a:ext uri="{FF2B5EF4-FFF2-40B4-BE49-F238E27FC236}">
                    <a16:creationId xmlns:a16="http://schemas.microsoft.com/office/drawing/2014/main" id="{D51F9777-0ABD-4A90-A211-99A7C50A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02">
                <a:extLst>
                  <a:ext uri="{FF2B5EF4-FFF2-40B4-BE49-F238E27FC236}">
                    <a16:creationId xmlns:a16="http://schemas.microsoft.com/office/drawing/2014/main" id="{9B5DCA63-AF8F-475E-A71F-6C9DE054A5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4">
                <a:extLst>
                  <a:ext uri="{FF2B5EF4-FFF2-40B4-BE49-F238E27FC236}">
                    <a16:creationId xmlns:a16="http://schemas.microsoft.com/office/drawing/2014/main" id="{BBF981C6-A3CE-4D12-A6FD-86E044D459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6">
                <a:extLst>
                  <a:ext uri="{FF2B5EF4-FFF2-40B4-BE49-F238E27FC236}">
                    <a16:creationId xmlns:a16="http://schemas.microsoft.com/office/drawing/2014/main" id="{7C753A2E-176B-4EE7-B34E-F5E5243A6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8">
                <a:extLst>
                  <a:ext uri="{FF2B5EF4-FFF2-40B4-BE49-F238E27FC236}">
                    <a16:creationId xmlns:a16="http://schemas.microsoft.com/office/drawing/2014/main" id="{AF62BFD9-7E62-45FB-B32F-E5019E58FC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10">
                <a:extLst>
                  <a:ext uri="{FF2B5EF4-FFF2-40B4-BE49-F238E27FC236}">
                    <a16:creationId xmlns:a16="http://schemas.microsoft.com/office/drawing/2014/main" id="{94633CE7-B612-4819-BC4D-FCB45C7E9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12">
                <a:extLst>
                  <a:ext uri="{FF2B5EF4-FFF2-40B4-BE49-F238E27FC236}">
                    <a16:creationId xmlns:a16="http://schemas.microsoft.com/office/drawing/2014/main" id="{F60FE1BF-E237-4C8B-8A7C-C673DA65E7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4">
                <a:extLst>
                  <a:ext uri="{FF2B5EF4-FFF2-40B4-BE49-F238E27FC236}">
                    <a16:creationId xmlns:a16="http://schemas.microsoft.com/office/drawing/2014/main" id="{29240A3C-D8D0-4A94-B27E-CE255E1848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6">
                <a:extLst>
                  <a:ext uri="{FF2B5EF4-FFF2-40B4-BE49-F238E27FC236}">
                    <a16:creationId xmlns:a16="http://schemas.microsoft.com/office/drawing/2014/main" id="{78987675-5368-4547-B275-21352F870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8">
                <a:extLst>
                  <a:ext uri="{FF2B5EF4-FFF2-40B4-BE49-F238E27FC236}">
                    <a16:creationId xmlns:a16="http://schemas.microsoft.com/office/drawing/2014/main" id="{74B51950-D417-46E3-88AF-FA59006E4D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20">
                <a:extLst>
                  <a:ext uri="{FF2B5EF4-FFF2-40B4-BE49-F238E27FC236}">
                    <a16:creationId xmlns:a16="http://schemas.microsoft.com/office/drawing/2014/main" id="{1FFE2F84-5A8A-4C7A-8D58-DB824FB869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22">
                <a:extLst>
                  <a:ext uri="{FF2B5EF4-FFF2-40B4-BE49-F238E27FC236}">
                    <a16:creationId xmlns:a16="http://schemas.microsoft.com/office/drawing/2014/main" id="{FB4F796F-E08C-4DF5-AE36-A38A05308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4">
                <a:extLst>
                  <a:ext uri="{FF2B5EF4-FFF2-40B4-BE49-F238E27FC236}">
                    <a16:creationId xmlns:a16="http://schemas.microsoft.com/office/drawing/2014/main" id="{DD81A705-5BC4-445B-9E6F-19D0F666DE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6">
                <a:extLst>
                  <a:ext uri="{FF2B5EF4-FFF2-40B4-BE49-F238E27FC236}">
                    <a16:creationId xmlns:a16="http://schemas.microsoft.com/office/drawing/2014/main" id="{453D618B-0D8B-4A1F-9034-622F6A72F7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8">
                <a:extLst>
                  <a:ext uri="{FF2B5EF4-FFF2-40B4-BE49-F238E27FC236}">
                    <a16:creationId xmlns:a16="http://schemas.microsoft.com/office/drawing/2014/main" id="{8B9E038D-CD99-4C02-95B9-F8D40FF955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7BCB2DE9-AFFC-40A9-9E10-89296399429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7" name="Line 230">
                <a:extLst>
                  <a:ext uri="{FF2B5EF4-FFF2-40B4-BE49-F238E27FC236}">
                    <a16:creationId xmlns:a16="http://schemas.microsoft.com/office/drawing/2014/main" id="{94D51BDF-2441-4CA9-BAC1-3B2ED309E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2">
                <a:extLst>
                  <a:ext uri="{FF2B5EF4-FFF2-40B4-BE49-F238E27FC236}">
                    <a16:creationId xmlns:a16="http://schemas.microsoft.com/office/drawing/2014/main" id="{13A1713A-64DA-4B58-AF5D-E440898DF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4">
                <a:extLst>
                  <a:ext uri="{FF2B5EF4-FFF2-40B4-BE49-F238E27FC236}">
                    <a16:creationId xmlns:a16="http://schemas.microsoft.com/office/drawing/2014/main" id="{3DAA40F8-C9D8-4784-983C-413D4882DA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6">
                <a:extLst>
                  <a:ext uri="{FF2B5EF4-FFF2-40B4-BE49-F238E27FC236}">
                    <a16:creationId xmlns:a16="http://schemas.microsoft.com/office/drawing/2014/main" id="{C3AEB324-E8E3-4EA5-866A-6FE1DCB205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8">
                <a:extLst>
                  <a:ext uri="{FF2B5EF4-FFF2-40B4-BE49-F238E27FC236}">
                    <a16:creationId xmlns:a16="http://schemas.microsoft.com/office/drawing/2014/main" id="{A250796C-1723-432E-A4C0-F5BE142938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0">
                <a:extLst>
                  <a:ext uri="{FF2B5EF4-FFF2-40B4-BE49-F238E27FC236}">
                    <a16:creationId xmlns:a16="http://schemas.microsoft.com/office/drawing/2014/main" id="{53A6CA09-39E0-4EB8-AD43-679320CB84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44">
                <a:extLst>
                  <a:ext uri="{FF2B5EF4-FFF2-40B4-BE49-F238E27FC236}">
                    <a16:creationId xmlns:a16="http://schemas.microsoft.com/office/drawing/2014/main" id="{6E69EB68-3006-42C3-87D0-4220528CF4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6">
                <a:extLst>
                  <a:ext uri="{FF2B5EF4-FFF2-40B4-BE49-F238E27FC236}">
                    <a16:creationId xmlns:a16="http://schemas.microsoft.com/office/drawing/2014/main" id="{DCAFBB50-C32E-4D4F-AB06-F46A3EAFD4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0">
                <a:extLst>
                  <a:ext uri="{FF2B5EF4-FFF2-40B4-BE49-F238E27FC236}">
                    <a16:creationId xmlns:a16="http://schemas.microsoft.com/office/drawing/2014/main" id="{1FAFD056-EE3C-4618-97F7-7E2E7702CA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2">
                <a:extLst>
                  <a:ext uri="{FF2B5EF4-FFF2-40B4-BE49-F238E27FC236}">
                    <a16:creationId xmlns:a16="http://schemas.microsoft.com/office/drawing/2014/main" id="{1A970CAF-567C-4ECF-BE5A-1A64C06278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4">
                <a:extLst>
                  <a:ext uri="{FF2B5EF4-FFF2-40B4-BE49-F238E27FC236}">
                    <a16:creationId xmlns:a16="http://schemas.microsoft.com/office/drawing/2014/main" id="{4BA24803-F797-40C1-A774-F6C7A97FB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6">
                <a:extLst>
                  <a:ext uri="{FF2B5EF4-FFF2-40B4-BE49-F238E27FC236}">
                    <a16:creationId xmlns:a16="http://schemas.microsoft.com/office/drawing/2014/main" id="{6BC5B3ED-A2D0-400C-871B-95A036D86C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8">
                <a:extLst>
                  <a:ext uri="{FF2B5EF4-FFF2-40B4-BE49-F238E27FC236}">
                    <a16:creationId xmlns:a16="http://schemas.microsoft.com/office/drawing/2014/main" id="{B8563039-442B-49CF-A167-667A70F98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0">
                <a:extLst>
                  <a:ext uri="{FF2B5EF4-FFF2-40B4-BE49-F238E27FC236}">
                    <a16:creationId xmlns:a16="http://schemas.microsoft.com/office/drawing/2014/main" id="{5B1DF0BF-0E28-4DB1-A22D-94E8DC1902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2">
                <a:extLst>
                  <a:ext uri="{FF2B5EF4-FFF2-40B4-BE49-F238E27FC236}">
                    <a16:creationId xmlns:a16="http://schemas.microsoft.com/office/drawing/2014/main" id="{B038544E-53BE-4EAF-8FE0-D6205A2CC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4">
                <a:extLst>
                  <a:ext uri="{FF2B5EF4-FFF2-40B4-BE49-F238E27FC236}">
                    <a16:creationId xmlns:a16="http://schemas.microsoft.com/office/drawing/2014/main" id="{8E9563B2-36C4-4A2E-969B-F5D53B6903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6">
                <a:extLst>
                  <a:ext uri="{FF2B5EF4-FFF2-40B4-BE49-F238E27FC236}">
                    <a16:creationId xmlns:a16="http://schemas.microsoft.com/office/drawing/2014/main" id="{BD559C2E-0B8F-44BD-B225-44DAEBD3C1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8">
                <a:extLst>
                  <a:ext uri="{FF2B5EF4-FFF2-40B4-BE49-F238E27FC236}">
                    <a16:creationId xmlns:a16="http://schemas.microsoft.com/office/drawing/2014/main" id="{D8C73CF3-A2C8-46D3-87EA-29C84BFD82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0">
                <a:extLst>
                  <a:ext uri="{FF2B5EF4-FFF2-40B4-BE49-F238E27FC236}">
                    <a16:creationId xmlns:a16="http://schemas.microsoft.com/office/drawing/2014/main" id="{BB81DBA4-0585-401C-921A-931F2E9FD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2">
                <a:extLst>
                  <a:ext uri="{FF2B5EF4-FFF2-40B4-BE49-F238E27FC236}">
                    <a16:creationId xmlns:a16="http://schemas.microsoft.com/office/drawing/2014/main" id="{329D2509-1FB5-4834-998A-79D47DF558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4">
                <a:extLst>
                  <a:ext uri="{FF2B5EF4-FFF2-40B4-BE49-F238E27FC236}">
                    <a16:creationId xmlns:a16="http://schemas.microsoft.com/office/drawing/2014/main" id="{5DBD132E-AE43-4CFB-8E7C-0F60D795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6">
                <a:extLst>
                  <a:ext uri="{FF2B5EF4-FFF2-40B4-BE49-F238E27FC236}">
                    <a16:creationId xmlns:a16="http://schemas.microsoft.com/office/drawing/2014/main" id="{C0432638-7CA6-4052-A12F-C35F52C8E3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8">
                <a:extLst>
                  <a:ext uri="{FF2B5EF4-FFF2-40B4-BE49-F238E27FC236}">
                    <a16:creationId xmlns:a16="http://schemas.microsoft.com/office/drawing/2014/main" id="{C14A8584-6A5A-4D61-AD82-D91F4C786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98CCD2F9-F519-44E2-8864-F92EAD55C4A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4" name="Line 231">
                <a:extLst>
                  <a:ext uri="{FF2B5EF4-FFF2-40B4-BE49-F238E27FC236}">
                    <a16:creationId xmlns:a16="http://schemas.microsoft.com/office/drawing/2014/main" id="{2C09FB30-B0C2-4D81-A22B-F3D0C23D9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233">
                <a:extLst>
                  <a:ext uri="{FF2B5EF4-FFF2-40B4-BE49-F238E27FC236}">
                    <a16:creationId xmlns:a16="http://schemas.microsoft.com/office/drawing/2014/main" id="{16B34B20-7E1C-426A-A8C6-455FAB39E6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235">
                <a:extLst>
                  <a:ext uri="{FF2B5EF4-FFF2-40B4-BE49-F238E27FC236}">
                    <a16:creationId xmlns:a16="http://schemas.microsoft.com/office/drawing/2014/main" id="{EA707EDE-900C-4A7D-9B20-F29838B525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7">
                <a:extLst>
                  <a:ext uri="{FF2B5EF4-FFF2-40B4-BE49-F238E27FC236}">
                    <a16:creationId xmlns:a16="http://schemas.microsoft.com/office/drawing/2014/main" id="{DC21E02F-AC76-4C6F-B1B3-3D945CE11B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9">
                <a:extLst>
                  <a:ext uri="{FF2B5EF4-FFF2-40B4-BE49-F238E27FC236}">
                    <a16:creationId xmlns:a16="http://schemas.microsoft.com/office/drawing/2014/main" id="{8E61DC8C-F51D-4199-9374-BDCC49878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41">
                <a:extLst>
                  <a:ext uri="{FF2B5EF4-FFF2-40B4-BE49-F238E27FC236}">
                    <a16:creationId xmlns:a16="http://schemas.microsoft.com/office/drawing/2014/main" id="{113C3C88-2C31-42B1-921B-3B649A7772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45">
                <a:extLst>
                  <a:ext uri="{FF2B5EF4-FFF2-40B4-BE49-F238E27FC236}">
                    <a16:creationId xmlns:a16="http://schemas.microsoft.com/office/drawing/2014/main" id="{A9843B41-8C42-4F10-BB0B-073F8111DC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7">
                <a:extLst>
                  <a:ext uri="{FF2B5EF4-FFF2-40B4-BE49-F238E27FC236}">
                    <a16:creationId xmlns:a16="http://schemas.microsoft.com/office/drawing/2014/main" id="{6EBF52AC-D5CC-4DC4-9221-83E9A6D4CF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51">
                <a:extLst>
                  <a:ext uri="{FF2B5EF4-FFF2-40B4-BE49-F238E27FC236}">
                    <a16:creationId xmlns:a16="http://schemas.microsoft.com/office/drawing/2014/main" id="{8DA9D10E-B734-4C69-B042-31D89312F5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53">
                <a:extLst>
                  <a:ext uri="{FF2B5EF4-FFF2-40B4-BE49-F238E27FC236}">
                    <a16:creationId xmlns:a16="http://schemas.microsoft.com/office/drawing/2014/main" id="{438B9106-AA32-425B-BDAA-85939D2EA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5">
                <a:extLst>
                  <a:ext uri="{FF2B5EF4-FFF2-40B4-BE49-F238E27FC236}">
                    <a16:creationId xmlns:a16="http://schemas.microsoft.com/office/drawing/2014/main" id="{1ACF752F-DAB1-4146-8F5F-A418182C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7">
                <a:extLst>
                  <a:ext uri="{FF2B5EF4-FFF2-40B4-BE49-F238E27FC236}">
                    <a16:creationId xmlns:a16="http://schemas.microsoft.com/office/drawing/2014/main" id="{37927207-8B17-4997-970E-9E446D15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9">
                <a:extLst>
                  <a:ext uri="{FF2B5EF4-FFF2-40B4-BE49-F238E27FC236}">
                    <a16:creationId xmlns:a16="http://schemas.microsoft.com/office/drawing/2014/main" id="{4B6F7316-1272-41E7-B10A-A2976BBC10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61">
                <a:extLst>
                  <a:ext uri="{FF2B5EF4-FFF2-40B4-BE49-F238E27FC236}">
                    <a16:creationId xmlns:a16="http://schemas.microsoft.com/office/drawing/2014/main" id="{032B6E3E-BEA5-40FA-A575-92E3050CFD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63">
                <a:extLst>
                  <a:ext uri="{FF2B5EF4-FFF2-40B4-BE49-F238E27FC236}">
                    <a16:creationId xmlns:a16="http://schemas.microsoft.com/office/drawing/2014/main" id="{08E3BDDA-D6E5-4D15-BDF8-B722F2FC12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5">
                <a:extLst>
                  <a:ext uri="{FF2B5EF4-FFF2-40B4-BE49-F238E27FC236}">
                    <a16:creationId xmlns:a16="http://schemas.microsoft.com/office/drawing/2014/main" id="{1DBCDD9D-4284-49AA-87BD-148BAC4216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7">
                <a:extLst>
                  <a:ext uri="{FF2B5EF4-FFF2-40B4-BE49-F238E27FC236}">
                    <a16:creationId xmlns:a16="http://schemas.microsoft.com/office/drawing/2014/main" id="{0BD56AF0-22F6-45B7-BE07-F9D5FF9919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9">
                <a:extLst>
                  <a:ext uri="{FF2B5EF4-FFF2-40B4-BE49-F238E27FC236}">
                    <a16:creationId xmlns:a16="http://schemas.microsoft.com/office/drawing/2014/main" id="{D937A3E4-830A-44E8-AD05-A942D6A916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71">
                <a:extLst>
                  <a:ext uri="{FF2B5EF4-FFF2-40B4-BE49-F238E27FC236}">
                    <a16:creationId xmlns:a16="http://schemas.microsoft.com/office/drawing/2014/main" id="{6D5A08B3-6A13-44C5-91DA-4A544B7B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73">
                <a:extLst>
                  <a:ext uri="{FF2B5EF4-FFF2-40B4-BE49-F238E27FC236}">
                    <a16:creationId xmlns:a16="http://schemas.microsoft.com/office/drawing/2014/main" id="{39AB4735-FF60-4B25-A3C7-8D7632BA84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5">
                <a:extLst>
                  <a:ext uri="{FF2B5EF4-FFF2-40B4-BE49-F238E27FC236}">
                    <a16:creationId xmlns:a16="http://schemas.microsoft.com/office/drawing/2014/main" id="{459D7A63-0411-48B3-B4EE-7D33B8C82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7">
                <a:extLst>
                  <a:ext uri="{FF2B5EF4-FFF2-40B4-BE49-F238E27FC236}">
                    <a16:creationId xmlns:a16="http://schemas.microsoft.com/office/drawing/2014/main" id="{91DF149F-634D-4DB7-9DC1-ABECE33E2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9">
                <a:extLst>
                  <a:ext uri="{FF2B5EF4-FFF2-40B4-BE49-F238E27FC236}">
                    <a16:creationId xmlns:a16="http://schemas.microsoft.com/office/drawing/2014/main" id="{264AC457-360D-4B71-B018-5DC84116A6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6" name="Line 256">
              <a:extLst>
                <a:ext uri="{FF2B5EF4-FFF2-40B4-BE49-F238E27FC236}">
                  <a16:creationId xmlns:a16="http://schemas.microsoft.com/office/drawing/2014/main" id="{0C24036F-DB1D-4300-97CD-302E64927A9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7" name="Line 147">
              <a:extLst>
                <a:ext uri="{FF2B5EF4-FFF2-40B4-BE49-F238E27FC236}">
                  <a16:creationId xmlns:a16="http://schemas.microsoft.com/office/drawing/2014/main" id="{257C7262-1F9F-4AB1-A58E-3D48208DB50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8" name="Line 146">
              <a:extLst>
                <a:ext uri="{FF2B5EF4-FFF2-40B4-BE49-F238E27FC236}">
                  <a16:creationId xmlns:a16="http://schemas.microsoft.com/office/drawing/2014/main" id="{DC691138-64B7-49F3-B69C-2691A82EB3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234">
              <a:extLst>
                <a:ext uri="{FF2B5EF4-FFF2-40B4-BE49-F238E27FC236}">
                  <a16:creationId xmlns:a16="http://schemas.microsoft.com/office/drawing/2014/main" id="{6C62A351-8FE5-4914-BDF9-132192996A4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204">
              <a:extLst>
                <a:ext uri="{FF2B5EF4-FFF2-40B4-BE49-F238E27FC236}">
                  <a16:creationId xmlns:a16="http://schemas.microsoft.com/office/drawing/2014/main" id="{84C756CF-E9D7-4003-8C8F-1AF2C845376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5">
              <a:extLst>
                <a:ext uri="{FF2B5EF4-FFF2-40B4-BE49-F238E27FC236}">
                  <a16:creationId xmlns:a16="http://schemas.microsoft.com/office/drawing/2014/main" id="{94C2D43F-BEB5-4708-9E7C-81F6E283A00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5">
              <a:extLst>
                <a:ext uri="{FF2B5EF4-FFF2-40B4-BE49-F238E27FC236}">
                  <a16:creationId xmlns:a16="http://schemas.microsoft.com/office/drawing/2014/main" id="{A628CEB9-5024-41CF-8D25-5118A1173D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57">
              <a:extLst>
                <a:ext uri="{FF2B5EF4-FFF2-40B4-BE49-F238E27FC236}">
                  <a16:creationId xmlns:a16="http://schemas.microsoft.com/office/drawing/2014/main" id="{FAE20D58-65B2-4CA1-8289-2F5162A281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E5C5516-8F46-4455-92E3-82CE9BF459F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E034850-6F78-452C-BE50-4243582696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9144000" cy="5143500"/>
          </a:xfrm>
          <a:prstGeom prst="rect">
            <a:avLst/>
          </a:pr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</a:p>
        </p:txBody>
      </p:sp>
      <p:sp>
        <p:nvSpPr>
          <p:cNvPr id="277" name="Content Placeholder 1">
            <a:extLst>
              <a:ext uri="{FF2B5EF4-FFF2-40B4-BE49-F238E27FC236}">
                <a16:creationId xmlns:a16="http://schemas.microsoft.com/office/drawing/2014/main" id="{BE1AD85C-48F5-47D8-91DF-302588F6D426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>
                <a:solidFill>
                  <a:schemeClr val="tx1"/>
                </a:solidFill>
              </a:rPr>
              <a:t>Klik </a:t>
            </a:r>
            <a:r>
              <a:rPr lang="nl-NL" sz="1100" b="0">
                <a:solidFill>
                  <a:schemeClr val="tx1"/>
                </a:solidFill>
              </a:rPr>
              <a:t>op ‘Invoegen’; de </a:t>
            </a:r>
            <a:r>
              <a:rPr lang="nl-NL" sz="1100">
                <a:solidFill>
                  <a:schemeClr val="tx1"/>
                </a:solidFill>
              </a:rPr>
              <a:t>afbeelding wordt geplaatst</a:t>
            </a:r>
          </a:p>
        </p:txBody>
      </p:sp>
    </p:spTree>
    <p:extLst>
      <p:ext uri="{BB962C8B-B14F-4D97-AF65-F5344CB8AC3E}">
        <p14:creationId xmlns:p14="http://schemas.microsoft.com/office/powerpoint/2010/main" val="401504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6DC912E0-9B43-4EB6-9F81-B2495273BEBF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6111E94A-34B3-440F-A384-089447C833F4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65DE54FB-79DA-471F-8023-28CB170CC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FF9B532-82B6-490D-AFFD-CB5168CBA6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4C6D7B52-9C4D-422A-836D-FC0C3A7306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05900930-8BCB-4363-8732-D42CFB1FCA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33E3A374-FCEB-46D7-9309-606610C1A5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0CB24889-416E-4C96-85D5-7F0259F90E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8086A482-DBA0-41CF-B92B-500E0A5562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909E185D-6B37-4BA1-8FF5-56AA795496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CFA6F81B-F809-48BD-A859-DA5053C76D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F2FD807-F2E3-4185-8D4C-DA3FC4333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C3187F6C-E12A-4314-BD06-4A02C30F41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C6A9D6F9-89BE-40D8-B691-128BDD0616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B72591A-D4BE-43B4-90AA-1DAC452BE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661ED3B-EC41-4DFC-8E63-32E1BC35B4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AE9C2076-3167-4A57-83A5-968E7EE7A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3688B59B-CFCE-4D76-83C4-8FA63A8BF9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D73E5890-15A3-418D-B82F-C050DD657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E29DCD6A-3EB4-4AB7-994F-ABE1DFD3DB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FD4F0EF-CD4B-45A1-ACD8-15D4910B2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B0950744-5E7B-4177-99FE-3034D176C8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FA65039F-EBEB-4F09-9F3F-4A075DDF69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1A258201-B720-4641-8EE6-38493484AF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B93DEC7B-0AEC-4122-AB44-14A0A8A071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2423A22-98F6-4286-93BB-EC165FBB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AA8DE039-F8FA-4B19-B4C3-61B3BA7D76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82EC170E-C75B-49D9-AA97-B9BF2951D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68975149-55FC-4E48-A028-EEF3F8A6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14863029-106F-455E-8A12-DFF84918B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7EEC5C88-DC5E-4DF2-9674-1AB387C0B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3101C463-67F4-44DF-9715-8DA2A9681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9FEF5AB-5745-45CF-AF26-FD8E5D599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3E5D0001-F554-45AD-9FDA-B616678B34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DE23B489-2910-4973-A29B-1A518D1BF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D89D779E-42A6-4294-A4F8-95DA5DD325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AB0428BF-C192-47A5-99ED-4B083A368F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4811B70D-6608-407D-AA9A-D9859691E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D63A9D45-AD09-4677-9C68-AA7398387A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EB5F156F-F409-4096-8B89-601C9F572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BCCA27C6-033D-4170-A4D4-A3E3AE1BB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77FC5B4E-EF64-49F7-BE45-BCCDFA860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925EB92F-CED0-4DE1-A86C-54CBE4E375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A9C6BAC-1B0B-4B72-979C-D3DCAD995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EA12C6CD-BAA8-4A20-97DE-4132E8FEFFD5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223A182C-C8D4-4C99-A3EC-4BFA7D2EC3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8F82E75F-F396-4FB3-B7D5-F91658C97F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0D273044-F940-4617-9463-67A1425BC4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4EE5F81-1DA3-49B0-9672-5DEA9EA65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4159A5DF-FF75-497C-932E-4A4BCDEBB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0C88CC60-E8AC-4E7D-8280-9B9E44EF2A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589F04EA-571B-4008-B5BD-405F6CDD84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192AE40F-63D7-435C-BAC9-8FA43AAE5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7A803B77-840C-45C3-ADBE-522D5DB01D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9A1648D4-3FAF-4DBB-B5BF-2B22D4FE5B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DF3F496F-6D08-4774-A3EA-22DAA073EF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FCF47EB9-F1C1-48AF-8102-38036429DD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651C2B9-46BA-4892-860F-4E3F0CF180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EF6AB36A-8532-46FE-85B4-AD8EF0AF4C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ED3240DA-FEBB-4EC3-9D64-02F3E49605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68B64A4-BCD3-4CB4-A3B3-128E507308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7D491CAB-D883-4533-ABE9-76BCA3349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FA961156-6B7D-4845-841A-EFAB118FD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4619165B-00D3-4054-AC2F-BD1C64C9D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64657092-2656-48F6-97B2-266F15882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9060EDB5-4673-4701-8526-6C4D59706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EF20825-CD56-4B6F-B145-0CD42A567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71F93B1A-F2D3-43A4-8957-62C0E1D7D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F1F4EAF6-BD5F-41C8-BBFE-C4E3B3F9A4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CAAA39BF-A7A7-47E7-9310-8298871319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1C043003-F4BE-41C7-B342-D9663194A1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BDF37607-4019-4F75-8752-E9E6FFE693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C04E4D2-9D6B-4CC0-AA59-76E47DF03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992F6692-7607-4F07-B01D-0D9CF27C90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6E41781D-D1E8-41F9-870E-5E7629B05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37A6DA98-3B77-4851-BD47-F160134386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F82B2B1-16CD-42BA-8A5E-AF1D0745C7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90D178B8-3A83-4F82-902A-EA82A2DC13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86637805-C6D1-4C1C-832F-99DD424DB6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7A08F2-84DF-4BF5-8FB4-FB7AA7781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B8FFD85E-38DD-45FD-8377-7AFA7FA52A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5FF37210-E01C-4AC0-A121-4284BE775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B2D3F3B0-1187-448D-9464-C719DFD225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7564628E-D695-4539-8D47-3345F33414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0F182677-9091-4669-9532-3A7D8065E1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CB94C7F8-E4E6-4968-910B-E4E02A577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3C2BF166-7F3B-4397-B548-CC7AAEF4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6AB8238E-7E16-49BD-8D77-7C5F31729A2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732A6D39-658E-44A5-89BD-929D605FAA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A2B376B0-0449-4831-B2DC-2701E81A3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C1E1352-0243-44B8-B1B6-34230041F0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D95A857-CCB5-47EA-8930-3DDDDC041B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FF2F9FFE-AD27-41A9-B6EF-05C8936DB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94A9F5A-845D-4B01-AA95-2BFE5E94CB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4CB8774A-2B68-4703-A4CD-98F1E4D641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828543EC-23D3-4798-90FA-2AEC30107F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B3BF999D-2C73-45F8-AE01-B2D416E47B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9DD3C1E5-A348-46C6-B5E5-A8D0583364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B431BF7B-6648-4A39-B598-EE5053C2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3C08CD54-4FB4-45FC-A1DD-2E172416B0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2FD8A1E2-F591-46F7-AFBE-C5631838BB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67A44418-5D73-4DF1-9349-31B4BF3600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CB67A8-868C-4272-B853-584946497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3A79F240-0F2E-4DE2-8D18-B4AEB291EE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205839CA-CFEE-411B-980C-AD2A23E26D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EE39804F-55C0-454D-96E7-CED7355623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02CBC766-47D4-40F4-9F09-23B8C8EE23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3FD4311-AF33-4039-8E20-1BDFC89C4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7304BFFE-03A1-45FB-88FA-59D77B367A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B5C5184F-04FF-4612-9224-082E21EE2D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F9707B4D-C7AC-4929-A69A-18B2C0323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AF8F98F-5FAC-4D79-8028-7053754B336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2442418F-F909-45BF-A7A8-1942462D06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DD4EE607-4D25-45E0-975D-F371F63A7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8C65C0C6-0561-4C5B-9FA0-B0CB573B8D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74D2B5A1-C4AF-47FA-B8C7-F5F7AE5C91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9FCE1FE0-6C2F-49C9-BFF2-51D939DFBA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4F3C6C19-A70B-4B29-A595-AB1CE27271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B86E8187-26B3-43E3-8EE4-2DE73223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62F1DA8F-7D29-43AF-B2A8-6AEBDD9DD5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694179E5-9A89-4919-9846-285C495D5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ED14A8D0-2E88-4061-8AC6-5F7E4B282C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89D2A2F7-5C07-4572-B5C3-429792E7DA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485C444E-5D59-4DD0-A636-160D8AB37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9F4F145-99B6-4EBA-9AE1-E898F3B84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06574AC4-2565-473E-9187-D750291FC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5E4B75A-FBC3-46C3-96EC-2390CFFB9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65C3CDF2-36C1-49D4-A9D4-F8F090D7AF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89E898A-418E-49D2-863D-8DE3B19908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20B41917-25A6-477D-960C-4F231237B6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E47104D1-1755-4D94-A78E-E0C5A428FC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FEBC59AF-6D7E-456C-897F-ACC969E73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2E3976EF-AE36-4571-B8ED-6EB2466AF6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AE0B1619-EBA2-4F76-9F9C-A69431EE5C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440D7F72-3D58-44A2-9A53-F779C50B83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73405CC1-4AA9-43E2-A566-0321E1FA2EF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58550207-1434-4F4E-932D-03377774862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51C5E56E-7F0E-4656-AF93-CF8D862A6F7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7070A34A-D33A-4C82-8E13-5697260F06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E5AA9418-4D15-4352-BF53-6D5C7A5A31B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B8F3FBAE-8E6F-4292-9710-429138DC088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4668D616-80BB-4C97-A4CF-9F537FFD43B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AEC48784-E5A4-4501-80C1-A1CDAD9B961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862FE7A6-9DFE-4BEB-9560-BD7C813B1E96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CA011D2-73E6-4F07-ACD2-2C2FFDDA41F9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A6F3D82-F24D-49BA-926F-ED736B9394D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FF84305-978C-437B-B653-B18CCC39C8E3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12A2E4EB-B627-421E-BAA1-1EDDB5487075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B4AC319E-4E3A-4651-ADB3-40461C60B74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6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E0903A1-31F3-436D-A05A-E928E6437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0749C0-39DB-4B5C-B4F3-47468C77C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079030CA-96EA-4BEB-A85F-E7B33D26EF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10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7EE9FAC-DC57-4004-A5A4-D92C34C31ADE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23C5CE7B-AFE2-405B-A5AB-33D0BE4F947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385" name="Line 147">
                <a:extLst>
                  <a:ext uri="{FF2B5EF4-FFF2-40B4-BE49-F238E27FC236}">
                    <a16:creationId xmlns:a16="http://schemas.microsoft.com/office/drawing/2014/main" id="{E555A5BA-5378-40C6-A00C-8BB924D85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6" name="Line 149">
                <a:extLst>
                  <a:ext uri="{FF2B5EF4-FFF2-40B4-BE49-F238E27FC236}">
                    <a16:creationId xmlns:a16="http://schemas.microsoft.com/office/drawing/2014/main" id="{84AB2912-A29F-4844-A757-DCC68AF1F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7" name="Line 151">
                <a:extLst>
                  <a:ext uri="{FF2B5EF4-FFF2-40B4-BE49-F238E27FC236}">
                    <a16:creationId xmlns:a16="http://schemas.microsoft.com/office/drawing/2014/main" id="{06EA586D-B169-46C2-A60A-2EE66DD499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8" name="Line 153">
                <a:extLst>
                  <a:ext uri="{FF2B5EF4-FFF2-40B4-BE49-F238E27FC236}">
                    <a16:creationId xmlns:a16="http://schemas.microsoft.com/office/drawing/2014/main" id="{46164BB0-DC68-41C6-839A-B5C6B5869C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9" name="Line 155">
                <a:extLst>
                  <a:ext uri="{FF2B5EF4-FFF2-40B4-BE49-F238E27FC236}">
                    <a16:creationId xmlns:a16="http://schemas.microsoft.com/office/drawing/2014/main" id="{CDBC3A16-B749-4BA7-8929-03642D6AED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0" name="Line 157">
                <a:extLst>
                  <a:ext uri="{FF2B5EF4-FFF2-40B4-BE49-F238E27FC236}">
                    <a16:creationId xmlns:a16="http://schemas.microsoft.com/office/drawing/2014/main" id="{96B82520-F5C3-4CB3-A5AB-61B4CF5D93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1" name="Line 159">
                <a:extLst>
                  <a:ext uri="{FF2B5EF4-FFF2-40B4-BE49-F238E27FC236}">
                    <a16:creationId xmlns:a16="http://schemas.microsoft.com/office/drawing/2014/main" id="{7D665035-09B0-4C21-80B9-C1398FD730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2" name="Line 161">
                <a:extLst>
                  <a:ext uri="{FF2B5EF4-FFF2-40B4-BE49-F238E27FC236}">
                    <a16:creationId xmlns:a16="http://schemas.microsoft.com/office/drawing/2014/main" id="{DDA66BB7-4A7E-4FAD-86D0-B9B64F4C9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3" name="Line 163">
                <a:extLst>
                  <a:ext uri="{FF2B5EF4-FFF2-40B4-BE49-F238E27FC236}">
                    <a16:creationId xmlns:a16="http://schemas.microsoft.com/office/drawing/2014/main" id="{A6AD8144-4EF4-4B29-B8BB-E464354D9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4" name="Line 165">
                <a:extLst>
                  <a:ext uri="{FF2B5EF4-FFF2-40B4-BE49-F238E27FC236}">
                    <a16:creationId xmlns:a16="http://schemas.microsoft.com/office/drawing/2014/main" id="{AF54A3E9-4632-4EC6-8466-6110D99E32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5" name="Line 167">
                <a:extLst>
                  <a:ext uri="{FF2B5EF4-FFF2-40B4-BE49-F238E27FC236}">
                    <a16:creationId xmlns:a16="http://schemas.microsoft.com/office/drawing/2014/main" id="{A7076AC4-4DA8-4BB1-803C-2864F43CA8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6" name="Line 169">
                <a:extLst>
                  <a:ext uri="{FF2B5EF4-FFF2-40B4-BE49-F238E27FC236}">
                    <a16:creationId xmlns:a16="http://schemas.microsoft.com/office/drawing/2014/main" id="{DE72BDCB-F0AD-4D0E-81DD-73840A36AD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7" name="Line 171">
                <a:extLst>
                  <a:ext uri="{FF2B5EF4-FFF2-40B4-BE49-F238E27FC236}">
                    <a16:creationId xmlns:a16="http://schemas.microsoft.com/office/drawing/2014/main" id="{79668C42-4088-48BE-BC9A-7DBE856B39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8" name="Line 173">
                <a:extLst>
                  <a:ext uri="{FF2B5EF4-FFF2-40B4-BE49-F238E27FC236}">
                    <a16:creationId xmlns:a16="http://schemas.microsoft.com/office/drawing/2014/main" id="{0735F85B-61B6-418B-892E-3BAF11FCA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9" name="Line 175">
                <a:extLst>
                  <a:ext uri="{FF2B5EF4-FFF2-40B4-BE49-F238E27FC236}">
                    <a16:creationId xmlns:a16="http://schemas.microsoft.com/office/drawing/2014/main" id="{AACC931B-A485-4635-B73F-164EE8B73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0" name="Line 177">
                <a:extLst>
                  <a:ext uri="{FF2B5EF4-FFF2-40B4-BE49-F238E27FC236}">
                    <a16:creationId xmlns:a16="http://schemas.microsoft.com/office/drawing/2014/main" id="{CF4DA616-7AA6-49E3-A52A-8AE492864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1" name="Line 179">
                <a:extLst>
                  <a:ext uri="{FF2B5EF4-FFF2-40B4-BE49-F238E27FC236}">
                    <a16:creationId xmlns:a16="http://schemas.microsoft.com/office/drawing/2014/main" id="{65B23C79-6DC7-41E7-8EF2-0844B77757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2" name="Line 181">
                <a:extLst>
                  <a:ext uri="{FF2B5EF4-FFF2-40B4-BE49-F238E27FC236}">
                    <a16:creationId xmlns:a16="http://schemas.microsoft.com/office/drawing/2014/main" id="{6908877B-0FF4-46CE-8EF2-C2E02CDA29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3" name="Line 183">
                <a:extLst>
                  <a:ext uri="{FF2B5EF4-FFF2-40B4-BE49-F238E27FC236}">
                    <a16:creationId xmlns:a16="http://schemas.microsoft.com/office/drawing/2014/main" id="{FD9697ED-A86E-4E1B-809F-C08237D216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4" name="Line 185">
                <a:extLst>
                  <a:ext uri="{FF2B5EF4-FFF2-40B4-BE49-F238E27FC236}">
                    <a16:creationId xmlns:a16="http://schemas.microsoft.com/office/drawing/2014/main" id="{F9A01023-C640-475B-BFE1-087B3F635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5" name="Line 187">
                <a:extLst>
                  <a:ext uri="{FF2B5EF4-FFF2-40B4-BE49-F238E27FC236}">
                    <a16:creationId xmlns:a16="http://schemas.microsoft.com/office/drawing/2014/main" id="{A9EB9220-FC0C-4AF0-8D22-261FAF99B3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6" name="Line 189">
                <a:extLst>
                  <a:ext uri="{FF2B5EF4-FFF2-40B4-BE49-F238E27FC236}">
                    <a16:creationId xmlns:a16="http://schemas.microsoft.com/office/drawing/2014/main" id="{93F31508-72A5-4ECB-A7EF-5A51CA87B9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7" name="Line 191">
                <a:extLst>
                  <a:ext uri="{FF2B5EF4-FFF2-40B4-BE49-F238E27FC236}">
                    <a16:creationId xmlns:a16="http://schemas.microsoft.com/office/drawing/2014/main" id="{07BA04CC-B207-4BFF-94B7-094BD042F5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8" name="Line 193">
                <a:extLst>
                  <a:ext uri="{FF2B5EF4-FFF2-40B4-BE49-F238E27FC236}">
                    <a16:creationId xmlns:a16="http://schemas.microsoft.com/office/drawing/2014/main" id="{FACD0BA2-AB07-40C3-BC90-D1CDF1DE6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9" name="Line 195">
                <a:extLst>
                  <a:ext uri="{FF2B5EF4-FFF2-40B4-BE49-F238E27FC236}">
                    <a16:creationId xmlns:a16="http://schemas.microsoft.com/office/drawing/2014/main" id="{9DC7902E-E769-4659-9C98-2C7A04E4E9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0" name="Line 197">
                <a:extLst>
                  <a:ext uri="{FF2B5EF4-FFF2-40B4-BE49-F238E27FC236}">
                    <a16:creationId xmlns:a16="http://schemas.microsoft.com/office/drawing/2014/main" id="{8538A190-CF19-4983-9051-EF83B1DF91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1" name="Line 199">
                <a:extLst>
                  <a:ext uri="{FF2B5EF4-FFF2-40B4-BE49-F238E27FC236}">
                    <a16:creationId xmlns:a16="http://schemas.microsoft.com/office/drawing/2014/main" id="{9AB58290-67BF-4A7B-A2B7-DD3C81E2A2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2" name="Line 201">
                <a:extLst>
                  <a:ext uri="{FF2B5EF4-FFF2-40B4-BE49-F238E27FC236}">
                    <a16:creationId xmlns:a16="http://schemas.microsoft.com/office/drawing/2014/main" id="{D3C87027-65B1-4CDE-828B-0BC8E341AB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03">
                <a:extLst>
                  <a:ext uri="{FF2B5EF4-FFF2-40B4-BE49-F238E27FC236}">
                    <a16:creationId xmlns:a16="http://schemas.microsoft.com/office/drawing/2014/main" id="{CB487EAA-33D3-47A2-9DC2-927DAB5664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05">
                <a:extLst>
                  <a:ext uri="{FF2B5EF4-FFF2-40B4-BE49-F238E27FC236}">
                    <a16:creationId xmlns:a16="http://schemas.microsoft.com/office/drawing/2014/main" id="{33D72F1D-AFB3-45C6-A8AC-A3C77F6F3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07">
                <a:extLst>
                  <a:ext uri="{FF2B5EF4-FFF2-40B4-BE49-F238E27FC236}">
                    <a16:creationId xmlns:a16="http://schemas.microsoft.com/office/drawing/2014/main" id="{45A0D96B-E87A-4474-9677-DF3C130D27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09">
                <a:extLst>
                  <a:ext uri="{FF2B5EF4-FFF2-40B4-BE49-F238E27FC236}">
                    <a16:creationId xmlns:a16="http://schemas.microsoft.com/office/drawing/2014/main" id="{7ACDC8F4-2ADC-445C-BC87-50468BDA3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11">
                <a:extLst>
                  <a:ext uri="{FF2B5EF4-FFF2-40B4-BE49-F238E27FC236}">
                    <a16:creationId xmlns:a16="http://schemas.microsoft.com/office/drawing/2014/main" id="{E98B0507-5CEC-4DC1-AD15-5DDE5B7FF2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13">
                <a:extLst>
                  <a:ext uri="{FF2B5EF4-FFF2-40B4-BE49-F238E27FC236}">
                    <a16:creationId xmlns:a16="http://schemas.microsoft.com/office/drawing/2014/main" id="{067F206E-94D7-4811-B8C3-99427CB9E3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15">
                <a:extLst>
                  <a:ext uri="{FF2B5EF4-FFF2-40B4-BE49-F238E27FC236}">
                    <a16:creationId xmlns:a16="http://schemas.microsoft.com/office/drawing/2014/main" id="{CF94DD76-79B9-495E-ADA3-C8DD2917D1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0" name="Line 217">
                <a:extLst>
                  <a:ext uri="{FF2B5EF4-FFF2-40B4-BE49-F238E27FC236}">
                    <a16:creationId xmlns:a16="http://schemas.microsoft.com/office/drawing/2014/main" id="{E7CE5465-900E-4A81-8F40-54323709F6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id="{9902A073-A9E7-4592-BAB2-4676F2378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id="{00F7CD03-0766-4DAA-BD97-666DF4F261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id="{77EBB781-6507-470C-8EA0-AEA581B02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id="{84DF576D-18C8-4534-8156-AC0DA69191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id="{7DA6C03C-6AF9-4B6C-99DB-0F3234D4B5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id="{0B6893F4-D99F-49F4-8A38-7A40AEA9E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46288A4F-2230-4580-A0CB-EACA35304D2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343" name="Line 146">
                <a:extLst>
                  <a:ext uri="{FF2B5EF4-FFF2-40B4-BE49-F238E27FC236}">
                    <a16:creationId xmlns:a16="http://schemas.microsoft.com/office/drawing/2014/main" id="{BAB8D4A5-1660-4CB1-BEC0-F2FA8D604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4" name="Line 148">
                <a:extLst>
                  <a:ext uri="{FF2B5EF4-FFF2-40B4-BE49-F238E27FC236}">
                    <a16:creationId xmlns:a16="http://schemas.microsoft.com/office/drawing/2014/main" id="{1CB2818A-0A17-4AE0-9B87-2F1FBCAA6D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5" name="Line 150">
                <a:extLst>
                  <a:ext uri="{FF2B5EF4-FFF2-40B4-BE49-F238E27FC236}">
                    <a16:creationId xmlns:a16="http://schemas.microsoft.com/office/drawing/2014/main" id="{9F489F9E-34D8-419F-A801-F74A5B3602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6" name="Line 152">
                <a:extLst>
                  <a:ext uri="{FF2B5EF4-FFF2-40B4-BE49-F238E27FC236}">
                    <a16:creationId xmlns:a16="http://schemas.microsoft.com/office/drawing/2014/main" id="{2851299F-B1BA-4EB6-9262-0DCF663EE3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7" name="Line 154">
                <a:extLst>
                  <a:ext uri="{FF2B5EF4-FFF2-40B4-BE49-F238E27FC236}">
                    <a16:creationId xmlns:a16="http://schemas.microsoft.com/office/drawing/2014/main" id="{AC4758A1-F530-4AC7-8B6E-F7EA8FAA99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8" name="Line 156">
                <a:extLst>
                  <a:ext uri="{FF2B5EF4-FFF2-40B4-BE49-F238E27FC236}">
                    <a16:creationId xmlns:a16="http://schemas.microsoft.com/office/drawing/2014/main" id="{048E544E-0FFF-4507-AF68-E0BFE3B9B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9" name="Line 158">
                <a:extLst>
                  <a:ext uri="{FF2B5EF4-FFF2-40B4-BE49-F238E27FC236}">
                    <a16:creationId xmlns:a16="http://schemas.microsoft.com/office/drawing/2014/main" id="{D59B89C8-D012-499E-8663-2407E892EA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0" name="Line 160">
                <a:extLst>
                  <a:ext uri="{FF2B5EF4-FFF2-40B4-BE49-F238E27FC236}">
                    <a16:creationId xmlns:a16="http://schemas.microsoft.com/office/drawing/2014/main" id="{A232B59B-59BF-4E4C-8232-47C8F8AA8F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1" name="Line 162">
                <a:extLst>
                  <a:ext uri="{FF2B5EF4-FFF2-40B4-BE49-F238E27FC236}">
                    <a16:creationId xmlns:a16="http://schemas.microsoft.com/office/drawing/2014/main" id="{4ACE530C-B813-45AA-976B-AFACECFC9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2" name="Line 164">
                <a:extLst>
                  <a:ext uri="{FF2B5EF4-FFF2-40B4-BE49-F238E27FC236}">
                    <a16:creationId xmlns:a16="http://schemas.microsoft.com/office/drawing/2014/main" id="{8ED53328-E4C1-4EC4-8DF8-554D5DC74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3" name="Line 166">
                <a:extLst>
                  <a:ext uri="{FF2B5EF4-FFF2-40B4-BE49-F238E27FC236}">
                    <a16:creationId xmlns:a16="http://schemas.microsoft.com/office/drawing/2014/main" id="{F694060D-07FB-48D4-934D-B569D065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4" name="Line 168">
                <a:extLst>
                  <a:ext uri="{FF2B5EF4-FFF2-40B4-BE49-F238E27FC236}">
                    <a16:creationId xmlns:a16="http://schemas.microsoft.com/office/drawing/2014/main" id="{DA20BE08-AC27-4443-BAA3-53D3AB398E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5" name="Line 170">
                <a:extLst>
                  <a:ext uri="{FF2B5EF4-FFF2-40B4-BE49-F238E27FC236}">
                    <a16:creationId xmlns:a16="http://schemas.microsoft.com/office/drawing/2014/main" id="{EF345958-89B7-4D39-BBFC-667C2A9D09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6" name="Line 172">
                <a:extLst>
                  <a:ext uri="{FF2B5EF4-FFF2-40B4-BE49-F238E27FC236}">
                    <a16:creationId xmlns:a16="http://schemas.microsoft.com/office/drawing/2014/main" id="{75BB4926-FB14-4957-9A07-A2CAFE88F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7" name="Line 174">
                <a:extLst>
                  <a:ext uri="{FF2B5EF4-FFF2-40B4-BE49-F238E27FC236}">
                    <a16:creationId xmlns:a16="http://schemas.microsoft.com/office/drawing/2014/main" id="{39413F3A-1388-419F-BF0C-B73D39A73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8" name="Line 176">
                <a:extLst>
                  <a:ext uri="{FF2B5EF4-FFF2-40B4-BE49-F238E27FC236}">
                    <a16:creationId xmlns:a16="http://schemas.microsoft.com/office/drawing/2014/main" id="{A9D906F4-2D03-40FC-A869-08E8FD658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9" name="Line 178">
                <a:extLst>
                  <a:ext uri="{FF2B5EF4-FFF2-40B4-BE49-F238E27FC236}">
                    <a16:creationId xmlns:a16="http://schemas.microsoft.com/office/drawing/2014/main" id="{3E40C389-83F9-495D-9E94-A5BC5DF5B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0" name="Line 180">
                <a:extLst>
                  <a:ext uri="{FF2B5EF4-FFF2-40B4-BE49-F238E27FC236}">
                    <a16:creationId xmlns:a16="http://schemas.microsoft.com/office/drawing/2014/main" id="{DA5F4B78-FE45-414B-861E-9F4DB0485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1" name="Line 182">
                <a:extLst>
                  <a:ext uri="{FF2B5EF4-FFF2-40B4-BE49-F238E27FC236}">
                    <a16:creationId xmlns:a16="http://schemas.microsoft.com/office/drawing/2014/main" id="{AAF944B3-9FB5-47FE-88D2-F80CD03CF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2" name="Line 184">
                <a:extLst>
                  <a:ext uri="{FF2B5EF4-FFF2-40B4-BE49-F238E27FC236}">
                    <a16:creationId xmlns:a16="http://schemas.microsoft.com/office/drawing/2014/main" id="{D1F2ECAA-969B-4CED-BE69-C4CF6D2AB8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3" name="Line 186">
                <a:extLst>
                  <a:ext uri="{FF2B5EF4-FFF2-40B4-BE49-F238E27FC236}">
                    <a16:creationId xmlns:a16="http://schemas.microsoft.com/office/drawing/2014/main" id="{EFCC7F9D-10F7-40BE-9395-D8AC35FC22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4" name="Line 188">
                <a:extLst>
                  <a:ext uri="{FF2B5EF4-FFF2-40B4-BE49-F238E27FC236}">
                    <a16:creationId xmlns:a16="http://schemas.microsoft.com/office/drawing/2014/main" id="{1DD3A586-DA01-4653-85F6-D63857436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5" name="Line 190">
                <a:extLst>
                  <a:ext uri="{FF2B5EF4-FFF2-40B4-BE49-F238E27FC236}">
                    <a16:creationId xmlns:a16="http://schemas.microsoft.com/office/drawing/2014/main" id="{EA72E185-9A17-4E7B-9F16-AEE641092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6" name="Line 192">
                <a:extLst>
                  <a:ext uri="{FF2B5EF4-FFF2-40B4-BE49-F238E27FC236}">
                    <a16:creationId xmlns:a16="http://schemas.microsoft.com/office/drawing/2014/main" id="{DF257637-1A64-4AEB-A5B6-BBE0B1C5E9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7" name="Line 194">
                <a:extLst>
                  <a:ext uri="{FF2B5EF4-FFF2-40B4-BE49-F238E27FC236}">
                    <a16:creationId xmlns:a16="http://schemas.microsoft.com/office/drawing/2014/main" id="{4CA280E7-AD06-49FA-AABD-3442899EF5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8" name="Line 196">
                <a:extLst>
                  <a:ext uri="{FF2B5EF4-FFF2-40B4-BE49-F238E27FC236}">
                    <a16:creationId xmlns:a16="http://schemas.microsoft.com/office/drawing/2014/main" id="{A548D4AD-5349-45FA-9178-630D13CC6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9" name="Line 198">
                <a:extLst>
                  <a:ext uri="{FF2B5EF4-FFF2-40B4-BE49-F238E27FC236}">
                    <a16:creationId xmlns:a16="http://schemas.microsoft.com/office/drawing/2014/main" id="{ACEE2A24-CC45-4241-A4A9-B3E6A1D57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0" name="Line 200">
                <a:extLst>
                  <a:ext uri="{FF2B5EF4-FFF2-40B4-BE49-F238E27FC236}">
                    <a16:creationId xmlns:a16="http://schemas.microsoft.com/office/drawing/2014/main" id="{736F56DB-10CB-4B0B-9D3B-B3408105C6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1" name="Line 202">
                <a:extLst>
                  <a:ext uri="{FF2B5EF4-FFF2-40B4-BE49-F238E27FC236}">
                    <a16:creationId xmlns:a16="http://schemas.microsoft.com/office/drawing/2014/main" id="{300A8DB3-6D4E-419A-AD9D-8443EC8A3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2" name="Line 204">
                <a:extLst>
                  <a:ext uri="{FF2B5EF4-FFF2-40B4-BE49-F238E27FC236}">
                    <a16:creationId xmlns:a16="http://schemas.microsoft.com/office/drawing/2014/main" id="{E73BB4A3-5A3C-4DA6-BD9F-FA40C3AEBE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3" name="Line 206">
                <a:extLst>
                  <a:ext uri="{FF2B5EF4-FFF2-40B4-BE49-F238E27FC236}">
                    <a16:creationId xmlns:a16="http://schemas.microsoft.com/office/drawing/2014/main" id="{38FBADC3-70D7-4ED1-AC17-A6923FD7E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4" name="Line 208">
                <a:extLst>
                  <a:ext uri="{FF2B5EF4-FFF2-40B4-BE49-F238E27FC236}">
                    <a16:creationId xmlns:a16="http://schemas.microsoft.com/office/drawing/2014/main" id="{000E4356-D2C7-429D-888F-CC1E2953F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5" name="Line 210">
                <a:extLst>
                  <a:ext uri="{FF2B5EF4-FFF2-40B4-BE49-F238E27FC236}">
                    <a16:creationId xmlns:a16="http://schemas.microsoft.com/office/drawing/2014/main" id="{C4F84A62-F7E6-444D-BA9B-32551EEA54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6" name="Line 212">
                <a:extLst>
                  <a:ext uri="{FF2B5EF4-FFF2-40B4-BE49-F238E27FC236}">
                    <a16:creationId xmlns:a16="http://schemas.microsoft.com/office/drawing/2014/main" id="{BF4A50CA-F25F-4D73-99E7-213187CFA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7" name="Line 214">
                <a:extLst>
                  <a:ext uri="{FF2B5EF4-FFF2-40B4-BE49-F238E27FC236}">
                    <a16:creationId xmlns:a16="http://schemas.microsoft.com/office/drawing/2014/main" id="{A1D8A3D5-C005-4043-ABDE-01DFDACD9D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8" name="Line 216">
                <a:extLst>
                  <a:ext uri="{FF2B5EF4-FFF2-40B4-BE49-F238E27FC236}">
                    <a16:creationId xmlns:a16="http://schemas.microsoft.com/office/drawing/2014/main" id="{81AF29EF-1D57-4973-9762-C1942BAA1C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9" name="Line 218">
                <a:extLst>
                  <a:ext uri="{FF2B5EF4-FFF2-40B4-BE49-F238E27FC236}">
                    <a16:creationId xmlns:a16="http://schemas.microsoft.com/office/drawing/2014/main" id="{C607991C-04B6-4482-B86B-3B4650ADA3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0" name="Line 220">
                <a:extLst>
                  <a:ext uri="{FF2B5EF4-FFF2-40B4-BE49-F238E27FC236}">
                    <a16:creationId xmlns:a16="http://schemas.microsoft.com/office/drawing/2014/main" id="{D56B8B0C-6A48-4B74-8BAB-1A87BADC1C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1" name="Line 222">
                <a:extLst>
                  <a:ext uri="{FF2B5EF4-FFF2-40B4-BE49-F238E27FC236}">
                    <a16:creationId xmlns:a16="http://schemas.microsoft.com/office/drawing/2014/main" id="{66381909-4D44-4D0F-B119-FFEE34DFC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2" name="Line 224">
                <a:extLst>
                  <a:ext uri="{FF2B5EF4-FFF2-40B4-BE49-F238E27FC236}">
                    <a16:creationId xmlns:a16="http://schemas.microsoft.com/office/drawing/2014/main" id="{A8F8D478-F691-49B3-846D-05D204E4E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3" name="Line 226">
                <a:extLst>
                  <a:ext uri="{FF2B5EF4-FFF2-40B4-BE49-F238E27FC236}">
                    <a16:creationId xmlns:a16="http://schemas.microsoft.com/office/drawing/2014/main" id="{50C4FECD-5D1F-48A5-A8E3-7ECA086AC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4" name="Line 228">
                <a:extLst>
                  <a:ext uri="{FF2B5EF4-FFF2-40B4-BE49-F238E27FC236}">
                    <a16:creationId xmlns:a16="http://schemas.microsoft.com/office/drawing/2014/main" id="{41EEBDAF-FA46-4E74-91F9-D197C18934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431666AD-57E0-4A83-BFEE-70E5A6E7B51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320" name="Line 230">
                <a:extLst>
                  <a:ext uri="{FF2B5EF4-FFF2-40B4-BE49-F238E27FC236}">
                    <a16:creationId xmlns:a16="http://schemas.microsoft.com/office/drawing/2014/main" id="{F50F7E6D-F358-4B22-BA7C-7B2941E73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1" name="Line 232">
                <a:extLst>
                  <a:ext uri="{FF2B5EF4-FFF2-40B4-BE49-F238E27FC236}">
                    <a16:creationId xmlns:a16="http://schemas.microsoft.com/office/drawing/2014/main" id="{56DFEADD-13F6-40F3-BBD3-808EB06B94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2" name="Line 234">
                <a:extLst>
                  <a:ext uri="{FF2B5EF4-FFF2-40B4-BE49-F238E27FC236}">
                    <a16:creationId xmlns:a16="http://schemas.microsoft.com/office/drawing/2014/main" id="{785CEDF1-7638-43E3-B661-DDC2E2828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3" name="Line 236">
                <a:extLst>
                  <a:ext uri="{FF2B5EF4-FFF2-40B4-BE49-F238E27FC236}">
                    <a16:creationId xmlns:a16="http://schemas.microsoft.com/office/drawing/2014/main" id="{F6DE6667-7541-4E9F-B246-A5F7EEBF8B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4" name="Line 238">
                <a:extLst>
                  <a:ext uri="{FF2B5EF4-FFF2-40B4-BE49-F238E27FC236}">
                    <a16:creationId xmlns:a16="http://schemas.microsoft.com/office/drawing/2014/main" id="{DD6B8151-C3B0-4227-B0F7-28755C15C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5" name="Line 240">
                <a:extLst>
                  <a:ext uri="{FF2B5EF4-FFF2-40B4-BE49-F238E27FC236}">
                    <a16:creationId xmlns:a16="http://schemas.microsoft.com/office/drawing/2014/main" id="{34DB4436-E0EE-4B5E-9FCF-125EB3B8A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6" name="Line 244">
                <a:extLst>
                  <a:ext uri="{FF2B5EF4-FFF2-40B4-BE49-F238E27FC236}">
                    <a16:creationId xmlns:a16="http://schemas.microsoft.com/office/drawing/2014/main" id="{024596E9-7A40-4CFB-8C63-E532009D7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7" name="Line 246">
                <a:extLst>
                  <a:ext uri="{FF2B5EF4-FFF2-40B4-BE49-F238E27FC236}">
                    <a16:creationId xmlns:a16="http://schemas.microsoft.com/office/drawing/2014/main" id="{D3510951-6684-426A-94C0-512FA6A267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8" name="Line 250">
                <a:extLst>
                  <a:ext uri="{FF2B5EF4-FFF2-40B4-BE49-F238E27FC236}">
                    <a16:creationId xmlns:a16="http://schemas.microsoft.com/office/drawing/2014/main" id="{36D3BAB0-8D39-483A-8742-6FABDA074B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9" name="Line 252">
                <a:extLst>
                  <a:ext uri="{FF2B5EF4-FFF2-40B4-BE49-F238E27FC236}">
                    <a16:creationId xmlns:a16="http://schemas.microsoft.com/office/drawing/2014/main" id="{798AB7F6-25B8-4AC8-8866-6AB1CFC232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0" name="Line 254">
                <a:extLst>
                  <a:ext uri="{FF2B5EF4-FFF2-40B4-BE49-F238E27FC236}">
                    <a16:creationId xmlns:a16="http://schemas.microsoft.com/office/drawing/2014/main" id="{63460B96-9AF3-4836-AB45-ECCD3BCD62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1" name="Line 256">
                <a:extLst>
                  <a:ext uri="{FF2B5EF4-FFF2-40B4-BE49-F238E27FC236}">
                    <a16:creationId xmlns:a16="http://schemas.microsoft.com/office/drawing/2014/main" id="{0167AA1A-3B23-43E8-80EE-145022D07E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2" name="Line 258">
                <a:extLst>
                  <a:ext uri="{FF2B5EF4-FFF2-40B4-BE49-F238E27FC236}">
                    <a16:creationId xmlns:a16="http://schemas.microsoft.com/office/drawing/2014/main" id="{4CAEA3CE-9A7A-47C2-8596-1936B74511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3" name="Line 260">
                <a:extLst>
                  <a:ext uri="{FF2B5EF4-FFF2-40B4-BE49-F238E27FC236}">
                    <a16:creationId xmlns:a16="http://schemas.microsoft.com/office/drawing/2014/main" id="{40953554-29A7-4CC0-8669-90E36A0DB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4" name="Line 262">
                <a:extLst>
                  <a:ext uri="{FF2B5EF4-FFF2-40B4-BE49-F238E27FC236}">
                    <a16:creationId xmlns:a16="http://schemas.microsoft.com/office/drawing/2014/main" id="{DDEFBE25-F9F7-42A5-8301-C0C230571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5" name="Line 264">
                <a:extLst>
                  <a:ext uri="{FF2B5EF4-FFF2-40B4-BE49-F238E27FC236}">
                    <a16:creationId xmlns:a16="http://schemas.microsoft.com/office/drawing/2014/main" id="{23006AD6-A6F8-4A60-A30D-1D0E2812E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6" name="Line 266">
                <a:extLst>
                  <a:ext uri="{FF2B5EF4-FFF2-40B4-BE49-F238E27FC236}">
                    <a16:creationId xmlns:a16="http://schemas.microsoft.com/office/drawing/2014/main" id="{C28C3CF4-7FA5-4799-BA7C-8CDEEBE07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7" name="Line 268">
                <a:extLst>
                  <a:ext uri="{FF2B5EF4-FFF2-40B4-BE49-F238E27FC236}">
                    <a16:creationId xmlns:a16="http://schemas.microsoft.com/office/drawing/2014/main" id="{95D58A0A-C7D3-4848-970D-E45F1399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8" name="Line 270">
                <a:extLst>
                  <a:ext uri="{FF2B5EF4-FFF2-40B4-BE49-F238E27FC236}">
                    <a16:creationId xmlns:a16="http://schemas.microsoft.com/office/drawing/2014/main" id="{BF9A3A9C-A516-4D46-BFB1-CE2B0A63A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9" name="Line 272">
                <a:extLst>
                  <a:ext uri="{FF2B5EF4-FFF2-40B4-BE49-F238E27FC236}">
                    <a16:creationId xmlns:a16="http://schemas.microsoft.com/office/drawing/2014/main" id="{73B57B86-3BF2-4A4F-9FDC-96318CDF4C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0" name="Line 274">
                <a:extLst>
                  <a:ext uri="{FF2B5EF4-FFF2-40B4-BE49-F238E27FC236}">
                    <a16:creationId xmlns:a16="http://schemas.microsoft.com/office/drawing/2014/main" id="{E7162B27-5EAC-4B27-AE4D-7CC792C333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1" name="Line 276">
                <a:extLst>
                  <a:ext uri="{FF2B5EF4-FFF2-40B4-BE49-F238E27FC236}">
                    <a16:creationId xmlns:a16="http://schemas.microsoft.com/office/drawing/2014/main" id="{42D3B7ED-70E0-4A3A-8715-4471354130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2" name="Line 278">
                <a:extLst>
                  <a:ext uri="{FF2B5EF4-FFF2-40B4-BE49-F238E27FC236}">
                    <a16:creationId xmlns:a16="http://schemas.microsoft.com/office/drawing/2014/main" id="{5D8135EE-2815-4DE2-8444-34B0048BD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00B6ED9A-64E4-4E4B-8DE7-62761BE41688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97" name="Line 231">
                <a:extLst>
                  <a:ext uri="{FF2B5EF4-FFF2-40B4-BE49-F238E27FC236}">
                    <a16:creationId xmlns:a16="http://schemas.microsoft.com/office/drawing/2014/main" id="{D33823C7-CCC7-47C7-BE24-0EE045AD40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33">
                <a:extLst>
                  <a:ext uri="{FF2B5EF4-FFF2-40B4-BE49-F238E27FC236}">
                    <a16:creationId xmlns:a16="http://schemas.microsoft.com/office/drawing/2014/main" id="{F7B24C31-B6EE-4D3F-A41D-F9059CC84E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35">
                <a:extLst>
                  <a:ext uri="{FF2B5EF4-FFF2-40B4-BE49-F238E27FC236}">
                    <a16:creationId xmlns:a16="http://schemas.microsoft.com/office/drawing/2014/main" id="{0073D665-80C9-417C-9AEE-56D996096F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37">
                <a:extLst>
                  <a:ext uri="{FF2B5EF4-FFF2-40B4-BE49-F238E27FC236}">
                    <a16:creationId xmlns:a16="http://schemas.microsoft.com/office/drawing/2014/main" id="{E671ADC1-99EF-4772-AACC-69BC57B98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39">
                <a:extLst>
                  <a:ext uri="{FF2B5EF4-FFF2-40B4-BE49-F238E27FC236}">
                    <a16:creationId xmlns:a16="http://schemas.microsoft.com/office/drawing/2014/main" id="{6FC3CAA1-5177-4480-A514-5D3DF213E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41">
                <a:extLst>
                  <a:ext uri="{FF2B5EF4-FFF2-40B4-BE49-F238E27FC236}">
                    <a16:creationId xmlns:a16="http://schemas.microsoft.com/office/drawing/2014/main" id="{90991A37-979B-4C00-BC2D-892239114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45">
                <a:extLst>
                  <a:ext uri="{FF2B5EF4-FFF2-40B4-BE49-F238E27FC236}">
                    <a16:creationId xmlns:a16="http://schemas.microsoft.com/office/drawing/2014/main" id="{1FED9329-0957-4A65-93F7-00192CADD0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47">
                <a:extLst>
                  <a:ext uri="{FF2B5EF4-FFF2-40B4-BE49-F238E27FC236}">
                    <a16:creationId xmlns:a16="http://schemas.microsoft.com/office/drawing/2014/main" id="{1C3EB916-A75D-45B5-88AC-9ACEFEC6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5" name="Line 251">
                <a:extLst>
                  <a:ext uri="{FF2B5EF4-FFF2-40B4-BE49-F238E27FC236}">
                    <a16:creationId xmlns:a16="http://schemas.microsoft.com/office/drawing/2014/main" id="{86CD6C63-0E39-4B7A-A975-F07C797B6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6" name="Line 253">
                <a:extLst>
                  <a:ext uri="{FF2B5EF4-FFF2-40B4-BE49-F238E27FC236}">
                    <a16:creationId xmlns:a16="http://schemas.microsoft.com/office/drawing/2014/main" id="{04D86990-FFD9-40F4-A0C3-EEA899D66E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7" name="Line 255">
                <a:extLst>
                  <a:ext uri="{FF2B5EF4-FFF2-40B4-BE49-F238E27FC236}">
                    <a16:creationId xmlns:a16="http://schemas.microsoft.com/office/drawing/2014/main" id="{7C016A95-8A8A-4CF9-822E-ED195E4E49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8" name="Line 257">
                <a:extLst>
                  <a:ext uri="{FF2B5EF4-FFF2-40B4-BE49-F238E27FC236}">
                    <a16:creationId xmlns:a16="http://schemas.microsoft.com/office/drawing/2014/main" id="{AD09FA88-1ACC-482C-9FA5-083433D49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9" name="Line 259">
                <a:extLst>
                  <a:ext uri="{FF2B5EF4-FFF2-40B4-BE49-F238E27FC236}">
                    <a16:creationId xmlns:a16="http://schemas.microsoft.com/office/drawing/2014/main" id="{D9D4655D-1370-43A4-AC31-8E819D231C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0" name="Line 261">
                <a:extLst>
                  <a:ext uri="{FF2B5EF4-FFF2-40B4-BE49-F238E27FC236}">
                    <a16:creationId xmlns:a16="http://schemas.microsoft.com/office/drawing/2014/main" id="{88668EDE-0FA6-42F3-AB1F-28370D022F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1" name="Line 263">
                <a:extLst>
                  <a:ext uri="{FF2B5EF4-FFF2-40B4-BE49-F238E27FC236}">
                    <a16:creationId xmlns:a16="http://schemas.microsoft.com/office/drawing/2014/main" id="{9304C266-F990-4DC3-AE95-A8F2F08F0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2" name="Line 265">
                <a:extLst>
                  <a:ext uri="{FF2B5EF4-FFF2-40B4-BE49-F238E27FC236}">
                    <a16:creationId xmlns:a16="http://schemas.microsoft.com/office/drawing/2014/main" id="{A2233FF4-C19A-46F3-80B5-7BEC6D7D9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3" name="Line 267">
                <a:extLst>
                  <a:ext uri="{FF2B5EF4-FFF2-40B4-BE49-F238E27FC236}">
                    <a16:creationId xmlns:a16="http://schemas.microsoft.com/office/drawing/2014/main" id="{DF589233-D2F5-489D-9B7D-6D57983DBF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4" name="Line 269">
                <a:extLst>
                  <a:ext uri="{FF2B5EF4-FFF2-40B4-BE49-F238E27FC236}">
                    <a16:creationId xmlns:a16="http://schemas.microsoft.com/office/drawing/2014/main" id="{11FB4AC4-C373-49EB-963C-666A5AD77F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5" name="Line 271">
                <a:extLst>
                  <a:ext uri="{FF2B5EF4-FFF2-40B4-BE49-F238E27FC236}">
                    <a16:creationId xmlns:a16="http://schemas.microsoft.com/office/drawing/2014/main" id="{820FB41F-0769-4420-BAE2-650B8C5F38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6" name="Line 273">
                <a:extLst>
                  <a:ext uri="{FF2B5EF4-FFF2-40B4-BE49-F238E27FC236}">
                    <a16:creationId xmlns:a16="http://schemas.microsoft.com/office/drawing/2014/main" id="{F90A9308-E1AD-4E38-82D1-87AA85ECCD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7" name="Line 275">
                <a:extLst>
                  <a:ext uri="{FF2B5EF4-FFF2-40B4-BE49-F238E27FC236}">
                    <a16:creationId xmlns:a16="http://schemas.microsoft.com/office/drawing/2014/main" id="{F9EE9F26-9741-40BB-84D6-848707373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8" name="Line 277">
                <a:extLst>
                  <a:ext uri="{FF2B5EF4-FFF2-40B4-BE49-F238E27FC236}">
                    <a16:creationId xmlns:a16="http://schemas.microsoft.com/office/drawing/2014/main" id="{10C00900-FDAC-4C3A-B59C-86FA6B72AF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9" name="Line 279">
                <a:extLst>
                  <a:ext uri="{FF2B5EF4-FFF2-40B4-BE49-F238E27FC236}">
                    <a16:creationId xmlns:a16="http://schemas.microsoft.com/office/drawing/2014/main" id="{589AB5C3-DAAC-464F-897C-DD07A0A684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id="{30A25BB9-D0CE-49E6-9710-AC39B359C0C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147">
              <a:extLst>
                <a:ext uri="{FF2B5EF4-FFF2-40B4-BE49-F238E27FC236}">
                  <a16:creationId xmlns:a16="http://schemas.microsoft.com/office/drawing/2014/main" id="{428EDC98-523B-4637-847D-C565FC68AB2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146">
              <a:extLst>
                <a:ext uri="{FF2B5EF4-FFF2-40B4-BE49-F238E27FC236}">
                  <a16:creationId xmlns:a16="http://schemas.microsoft.com/office/drawing/2014/main" id="{EFEC4945-EE9A-4B88-AE8F-BB58D9BF7EE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4">
              <a:extLst>
                <a:ext uri="{FF2B5EF4-FFF2-40B4-BE49-F238E27FC236}">
                  <a16:creationId xmlns:a16="http://schemas.microsoft.com/office/drawing/2014/main" id="{DDC7EA8E-464B-4517-B3AC-2D4181552D8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4">
              <a:extLst>
                <a:ext uri="{FF2B5EF4-FFF2-40B4-BE49-F238E27FC236}">
                  <a16:creationId xmlns:a16="http://schemas.microsoft.com/office/drawing/2014/main" id="{C8D8A08F-EB4B-4AAC-8881-B53F5A0CFEC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35">
              <a:extLst>
                <a:ext uri="{FF2B5EF4-FFF2-40B4-BE49-F238E27FC236}">
                  <a16:creationId xmlns:a16="http://schemas.microsoft.com/office/drawing/2014/main" id="{B4AC6D54-0B62-4ED4-88EB-60C09E336BA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5" name="Line 205">
              <a:extLst>
                <a:ext uri="{FF2B5EF4-FFF2-40B4-BE49-F238E27FC236}">
                  <a16:creationId xmlns:a16="http://schemas.microsoft.com/office/drawing/2014/main" id="{794B8529-F4F0-4085-AF14-54AADA9081C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6" name="Line 257">
              <a:extLst>
                <a:ext uri="{FF2B5EF4-FFF2-40B4-BE49-F238E27FC236}">
                  <a16:creationId xmlns:a16="http://schemas.microsoft.com/office/drawing/2014/main" id="{B189BBD5-A013-416B-ADC8-76DFF9CF9F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289" name="Rectangle 288">
            <a:extLst>
              <a:ext uri="{FF2B5EF4-FFF2-40B4-BE49-F238E27FC236}">
                <a16:creationId xmlns:a16="http://schemas.microsoft.com/office/drawing/2014/main" id="{E13587A7-70EA-48C7-AB12-EA193C3012F7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CA88FC-3312-454B-877D-CC3AEDB22C97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739EAC0C-6D4C-4B1D-A9F0-EE7FC2E395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A83B247-7538-453E-AF05-C825441F38E0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39724699-E9C0-4F2B-B33B-98365900E82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id="{386C18A7-3B08-4B65-AA20-C5B584C63A6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378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4B9545-1CBE-438A-94B5-9C754ACBF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2E32DE-28F8-4800-8C58-722324C5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id="{2DF74A29-21B3-459A-966F-E0E8D7E803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46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7C84BE5-9462-4F11-9C22-F4F3260C942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D47E9C3F-1995-49FD-B081-478127DA681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C906F4F3-4ECD-42A6-9C63-DB9646CB71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688E532B-96B0-4492-B14D-6813F2D15C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95823AE8-821C-4CB7-BF2E-DDCA3914F5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5787687D-BE26-47B2-8F93-DB2D0776B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B59D3499-B160-4CC3-81BF-0BFB5F8F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FE14665B-C0D6-4CFA-AC97-F3E3BDD007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527798BF-75EB-4E84-92CD-A0C63D0BDD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8493821A-CC46-4532-9DEA-BA5A432D14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0626E620-057B-4B2B-B072-D4426C738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70FE5BDE-FAD0-4E45-8136-8A36DDBCD6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00FE28E8-6BEE-4C75-90F9-FB817A128E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12A59934-40BC-4B69-B546-9A8DBADC5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33BE74B3-CEBB-4D49-8AE8-FC2763866D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0C495712-BCA8-40EA-9965-391EC18264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7B7B44DD-AD47-47EF-AAAA-34AD82227A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4EA107E7-D673-4ECD-9987-275C8EC7F2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6A0692F9-F54B-4AFA-BEA8-BF138343CB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641D63DB-3772-44FC-A4D8-1E4BFB5A3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E59E195E-2181-492B-9887-6A2F16EAD3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2F39718A-DD5A-4749-AD8D-E989D5571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C8938978-D8DD-44C5-A56C-24271F5F5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6540CF47-AD71-4E01-A511-91D85BB85C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8D881B5D-B955-42A9-B8D1-9061824C4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EB63EC48-11FD-4A7C-B25D-44BAE8583D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4912291E-F9B7-4843-9B1F-E17520266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771998BD-5186-4974-BC0A-61BF2DFC9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3FF72344-9C74-4293-BFC4-F72F4C0D4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9241A712-14D1-4B2A-B51B-EB01E8500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F88BBF71-D8A3-4534-AE65-46079B1B85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92F17CAB-0973-4B16-B1A4-ED5F0CA23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83A079A1-3136-4285-83B1-19D0C6039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CDEBCC7E-5DF6-4CA4-864B-753EA0D7BB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2FD0014D-1BE9-4021-8313-3464BED41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9E7D7D7F-DE6F-4E89-A194-B664CE48D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0619BA7B-84BC-4C96-B1C9-D50F8324C4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53CF17CE-A101-4CA8-BBB3-695A75F7A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F23FCDF4-5879-411F-8B01-70B7304F4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1568F4A3-9090-4218-9F56-D7765C854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8D872E25-9E0E-481A-8A01-C4DD4DF93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ACDCD92D-3F77-4AC8-99CB-725991D56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C28D0981-582E-4F4A-B830-CF68F0298B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73E92AC9-E8C4-41DA-9B3E-AEFB8B1C9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843A653-CFD7-4A2D-973D-62CF995EC309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7171AF27-56EF-4E3E-90B1-2293601640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C89B1BA9-5049-4347-9AF3-82ADF402C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5222CF13-D3B8-4AF0-8FFD-2ACF1973BA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F0F0D9CD-0F9B-4C53-ADAA-B5643D20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D5C465E0-7F8F-43B8-884C-5D4AB9068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2C9B515D-6778-41F7-95A4-332880D87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39B3E920-9015-43E4-9ACF-DA971BFE3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42B12664-9D65-45B3-B402-78C16D756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D7AFB3BA-B6EF-405C-8535-88EAC30EC0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3D959858-1441-4ED1-B2C2-EE8DFED462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84D949E0-C850-4395-82E5-3F0034254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E42045FE-E112-4A91-AEE4-4562E447C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93585588-756B-44FD-A9E8-B32FD5C3A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987BE5A1-1A7A-4981-8A11-3AB49E3015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89DA2694-17B0-4433-935C-39D6FCC736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F0EB3B09-9047-4198-A701-95165EE0E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BC3E4941-723C-407E-9FC6-659827052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C4D9645D-75A7-43AE-AC63-0E3B1CD7B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755F68A3-E88D-4D6A-B0E1-83E741E6DC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A78E8F09-0FBE-4C49-8DE5-E6DFE054E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85B1CFE0-5C99-4045-A526-F7DFFF9AC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E5E72F33-E0F0-448A-9AA7-AE4685A08A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5664558A-EAC6-49B5-A83B-83D64B2790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ED3ED3FF-40E5-419F-A8BB-B4BA526DC8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14526F7A-E513-428B-A2B7-C019CE2C6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D645AA64-1EB0-41F7-BFB7-89C1253042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7AEDEE7-6B63-44E8-9EF9-511E13AD4B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90B5C433-6278-43F6-8786-095CDC75F4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870475AC-D5D4-4B26-8090-F1377F104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C7AD0BB9-6B9E-4613-A49C-8187626737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6FE7BCE7-E794-4FB4-BF54-8F3925A958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8125C597-7213-4B56-BC86-37F2A5656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4FEE6371-48C6-49BC-879B-1040F8EA83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32E448FE-4D7A-422C-B6AE-DCF93709B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85137146-D6EF-4AD8-9932-48505AC22A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4629947D-2FBB-4C84-88BC-73F4630DB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88CBF55A-B6F5-4833-AE61-1E77392CD9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2BDDBB45-0C1E-40E7-9A23-0F2B33941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2789A42A-1DC7-4BD9-82D2-4CF3D737F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32B2C353-0F7C-4202-A0A6-9FEA757863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D0B340D9-FA13-496D-9124-E7E328FF1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F7071827-AD76-4F71-AA26-A3965E1BAF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8DB06B80-8744-4A13-9C14-BFF0A4404FA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D47FF350-B1B4-4604-8937-EBBB36E7A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132A291A-3895-4F98-9AB3-8A99671674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E677613A-4B7B-441E-BFCF-305EE29EE6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45B3D3E5-2446-468C-AC2B-37CB90E94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BE33099F-3452-4FE8-910D-911C082D2D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55CA4FB6-7941-42BF-A45A-6E6DD24DE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F9D09379-9A42-4C79-8BB4-C6902965F2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99D801D6-B727-4A54-93FB-D6B5E7720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7D519275-D31C-4EAA-9896-E1EF355A5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6FF62062-D200-4AD4-8D3F-5B8D0B860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313D9EB9-90B1-47D3-BE77-D6677DB70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27278C21-4105-418C-B365-3D41403C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8BC509C6-0A3A-491B-8EE9-24D4F6100F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AC141095-A2AC-4619-8029-1089DCA539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E66AE34B-A460-4D2B-8550-E8E4C1D8A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775052F0-4B42-4E7D-BB15-A4E27131BB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66766754-8347-4261-AAD3-56825AF29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C2F7E17E-1FAE-4168-A1E8-20FC1646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A479A141-EA99-4990-B229-177203DC8A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03CEBDD0-C765-4EDD-A37F-DC5A24A373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4B07380F-D80B-41CE-9E97-4BA4741189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04FFC962-E5B5-476B-A900-783148A680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72CC3FD3-167C-462E-B231-2B7B48AD3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9A37B9BB-2A13-46B6-86C0-F699F2162F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7BA7B18F-5400-46C8-A65D-2F239BB99D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4BD4B7EC-6FCC-4FCA-8CC0-07C0B5911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C9D07382-C3A6-4AA7-B48B-5AC697C40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B6D51E57-8E07-4536-86E3-F13DFCA328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BC950384-FE49-4753-8515-03366C006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040E27BF-56DA-4583-99ED-4DA9348D7F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D1BA9B4B-AF91-453D-B2C0-E4FF930646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CEF1C153-E8B0-4631-962A-3210A2E26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42CFD8F1-FB43-48B2-A351-4780A06063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7E2E20A9-5978-4C68-839B-9B7895FBD8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54D47B30-C100-4582-BAEA-8BAA478A8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2E08FFD-1FBC-4ADD-B59E-A34F02749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4130C5D9-D0D5-4170-9C46-83E523DEBB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A5E940D2-83F1-455B-B2F8-DC3A17828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D90592F1-C2C8-49CA-B704-12583D1B0D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CCDCE925-B417-4B15-AD9F-22F4536E5F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3AB5B0CC-7A04-4DB0-83EC-6A30A741A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85ABAB36-3575-4C0D-BC05-865261C964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BBBC5291-1F1B-418D-8E02-6F49CD819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D091846B-DAD6-4EC2-8F63-059CC7C5ED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02CA9381-ED1E-41D4-822E-53960C4B0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31EEDC88-ECFF-4E67-9E7F-D256E3B1B6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2CCE0B09-F164-4103-9D28-290410C8B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FB54E666-0F80-4664-A163-9523358572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AD8CC35D-B9D3-4908-ADD4-79DC39FAF0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D4614B81-F079-4BFC-BAFD-54C8C6C2003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D48CBBA3-5310-4088-B7F3-42225D9F7B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23E9CFDD-B414-4C70-906E-B7F0937806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899BFDB5-81EF-45D4-9DEB-9B7D9CFE35D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DFA7564A-AE34-4F6B-B2DF-2D4D252B18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FDE731E8-9B29-4970-9CDF-1EE7CFE3ECD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ADA88774-CD1B-456F-9CE7-565FC4B24AA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04FE7AB-6A79-4B0F-BCDA-27FD68F50964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B118FEEE-B01E-445E-9B66-C04548F4DC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9BA458CD-51E7-486F-AE65-B793B525136B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D687B0AC-F094-4B50-A9C2-108671291D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8B4FBFF3-E0EB-4CB8-BC45-3A50F09023D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00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CC3ADC1-62E0-49BE-A506-E7CE3955D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E72B4D-A311-45BA-A074-9F28FDE0A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274FBBDA-B8EE-45A9-8752-D87617E8FD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53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F5BCC56B-4673-4E1D-9F49-AFA15389B2A0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81C2F5E5-9E75-4090-BC29-766F3257E2B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B2B55F9C-C4B3-4A90-9E58-4F8E9A8ABE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7281F3E3-D446-4478-8B27-06005D0AF2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625E1639-0238-4FAA-BB50-5FB0EF55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3B8D83FA-E164-452F-A4D5-B347D6E093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1BA70917-64FC-44DC-8208-2AC1E1762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1E4AE12A-F5B0-42EE-9FE7-6DC96B053C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3755C8B3-8822-4A59-96CF-D368B7D6C3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258BED2E-DEE4-4168-8AE9-83B96CB1A8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D0C99814-935F-458E-B450-BB8C5A64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FB223D52-5E66-4042-B233-C83CFF1D9D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04357A03-2F71-41C5-B8C9-CB6576B71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BE5E58EE-AA04-4BD8-A795-136520784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F3EDDF86-0CC5-4514-A43C-38EDC2360E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61FBDE48-D705-4784-856B-99CAB5AD9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9C7D47F8-D2CD-4D8E-A71E-499E5B4B94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500ABF4D-563F-43CC-AFDE-CA769A2123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A9265216-A807-4659-9AB7-490D02AEA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A8447E4E-8899-4FFA-AA19-97DFB7852E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30D06683-626D-4211-B9AF-FE3B3AE0F2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5AE80BDA-0BA1-49F5-B404-C867517BC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0750082B-C90E-40F8-A3CC-0547BABE28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B7545CA4-D462-4E4D-B67C-4E13D38F94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6D64300E-4597-4579-84D3-F31216BB4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6062DFBE-54B2-4FBA-B31D-7791A071D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749C52E6-18AA-4AA8-A671-6F7192C1BC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D97647BE-3100-466A-965B-233C47571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A891ED7D-2B1C-4607-99D0-BC9E8B255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3D4EA490-A89D-4F32-8B2E-8A51E30849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6D649A66-91BA-4FED-9FB1-9E0AEC7799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03E9566A-2AC0-448E-9D84-48709A4AE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3623C88C-6FE7-4443-AECB-8068C5D14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9B41CCA6-A06E-4F36-BBCD-B016D7D950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735C3E67-32CC-49B7-B794-75A54E3C0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C0F8E08D-0A6C-4646-A352-0D9336E2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95EA1F00-FCB0-4631-8F90-BB72DF048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07B4754C-D73D-4F2B-B05B-5F3805CED3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5ECA6996-65DA-4E99-A9F0-020C1B3359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ACB18A38-4839-4636-88F5-B969C269C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E4D0E47E-B9B7-4D9C-A6FA-1CB5EFEF0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E4ED2022-68D6-4198-81D9-182FE04821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11036E5E-38EC-405F-8816-601C4487C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0D827A27-083B-41EA-ADDD-A5ADA7F6E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D82C7DF9-997D-4ED1-81B9-3C4A8986B3F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53A8E2E5-2CE7-43ED-9950-94B7746755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6656E5EE-BE2B-47FD-ADE1-B0ECD53D1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1C322386-0EAD-4A03-A6D2-F7051ADC2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C63A12C1-6506-421D-B0D4-A29DCDF414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1473C2F6-6B44-431F-AC7E-5B16AB52DF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C800C28A-E501-4110-8E59-37FF4C3970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19BC83F9-508D-42E9-BFF6-91E722865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614B6321-1A38-45BC-B41F-3EF2A5395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9138FAF8-BB6B-418F-A418-C130E766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83D1F8F5-2396-4E2D-80DB-E9A0582352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41EF7D32-F6D6-48E9-8F8C-DA3D8128C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BDCE6641-60DB-437F-8E20-129788578D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F7358CBA-5D91-4627-8384-5F798495DC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AB2E2AB9-3834-41A2-82B0-7BD64012F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0D0C86A6-EA51-4434-985B-C2F3B737F8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61B246F0-AE3A-459A-814A-6FA9ED79D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A063FA51-A5D2-4710-8AA5-1E84065739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82DC1473-07C4-463F-B958-2EA15EA489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8C5863CE-5969-4935-AF71-78FAD4A29B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F83090B8-2F86-4DC6-83BA-3F6E837233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20C6CDCC-232E-48A4-AA7B-CE643F0CA8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C4EC7254-08D8-47F4-99E6-7D08FEE45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988F2C6A-931F-427F-BEA8-E9CC643E4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C08DBAB6-9829-44D8-933C-28F9B786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0FD09815-C1DF-4D81-B153-CEFE1C283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FB444220-7B36-4379-89A7-60A5C0E4F6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845DB5A-2CE9-4F9F-9B7A-BF14EAD008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0C627264-DD07-4A59-A13D-0F32E6649C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8F6C6EE8-74A5-4BD3-86A3-68A89475D3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AE5C0E8D-5C30-40EB-8A7A-0DBCEEA87D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97EA8321-AF00-4415-A55D-F243315BF5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7937D8D8-9B81-4F01-B3F3-8B86241AF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541E54C5-35FE-41D3-8117-C833B355F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48539EAD-DE23-4A1B-A6D5-D8953C3324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06F2A3CA-8696-4D6D-A5D8-F9B65C9E0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88FEA614-FBD6-49A9-9486-EADBB478A6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2A4A921D-70B4-4F6A-93DD-D0439F6C53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6FA504CE-6476-4FD3-A8F5-3F6480AA9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ADA59F89-06ED-49E6-900A-60C1C32FC6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6BBF20FF-B7B8-401E-A33E-1BA32F171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E8B9001C-8A45-407C-80E5-F4F37A45D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0322FC2D-5929-4C55-B957-8BF7B3375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2C5993FF-9DD0-4B5B-9EF2-72B49A61FE4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0166D943-6A4E-4822-AEF7-BAD1B906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976AAC0B-0739-46B6-A52B-A1C10D77D0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CD54515C-411D-4CB1-8BB4-C1B425EFE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2B43078E-84A8-467F-B91F-429020C036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2BE7DDB7-29A5-4738-A1C7-64E71D62C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84F44648-20CF-4D32-BCA2-919A58072D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EFEF5576-1B49-4F07-B542-CB1A3D146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6116A196-EDBD-41FA-8C43-3D1DBEB8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66896784-EA61-44DF-883F-08F5AB3F55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A30A18EC-9163-4D8B-AD15-7948C205D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A2C83335-D1B0-46C6-AF9E-E2C138AFB5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26019064-06B4-4545-A34B-939256E845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AAC7BA22-B0DE-4A5F-9387-7481092C94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0BF2204D-1EB5-4C4F-9BA4-7A068A2EB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0BC0911F-715D-408A-90EE-9624872CE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A1F8B2F7-D838-4EC1-A69E-29A0EF5C3C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347C33AA-7500-491D-82FB-328FB33F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150D94F0-ED89-40E9-B433-9B6F334C2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C626FF9D-C052-4640-B27B-B90C6502BB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E23C1A3C-28E1-4842-9F49-0EA816E05B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B34F1B3E-6CB9-40A5-8901-30F45C1C9F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7DFFC7D7-9AC4-4028-A917-790F069366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A1AD0DC7-4AFF-4DC6-B25A-7EA2303EE1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D04B1076-80AE-48E2-800C-8945D35F7AA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A186F44F-BBB5-46EA-B8D1-B12BCDC48E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2B75B0BE-B8B2-4400-8666-D6F15B9DF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462BFA55-11D9-4237-A310-453D4691A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5EFBEFD1-7677-4645-B9CA-07C5781B9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0B6CCD9D-614B-4CBE-BB3D-38B46AE3B6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302D48DB-0679-4573-BA49-8F6AACA4A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59B4A51E-7018-433C-888A-EE78DD1BEC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214143A3-EB2F-4D9E-A176-0AB9AC65D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14131172-20F3-4357-A992-2667513E05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758B5C77-AABE-481B-B4DB-5524AA242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BBDB44EB-875A-4E77-A465-02F50D4D0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8F115A1-984D-44ED-9FDD-41A1F2C40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73B6E1AE-FCF9-4EEC-8866-EE2B0AAE1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5B1E7B61-B938-42F4-BFBF-FC57260841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7B08B5D0-F775-4667-9475-9E639C435A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B4AFFFD1-20CE-4E83-8EBD-82035711A7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A2738FA9-99B8-4734-87AC-C320773618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FEB84B7C-746D-409F-BB24-ED58A1AF0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ABDBE5D3-524A-418A-956F-9272CA74D0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7C3C6F97-5D22-4A4B-B72E-F8D819AC63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0B71AD4B-39A6-4679-8DBE-F777DF9FE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60E0F6EF-5AE2-4648-A965-033026CAAD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2B6C1AEB-C262-4FA0-8E90-F3365C4400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9BC4C8DE-1C00-4CFE-BC54-8B567416241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7120E80F-94D0-4912-B944-7FEDABF15DA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A675CEA0-9116-4306-A666-C3AD0756D4B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4FE0F8E6-06FC-4275-93C3-2BB515A47C6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CCD66097-C2CC-45AD-89BB-004EB4B7AB9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5DC051E0-F53B-4563-979C-81E7686173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937DAEDC-7DB0-42E9-B3F5-D7F4FA1EE40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7F2CA397-CE74-4A5B-86D3-746E1571F78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73100869-9143-4CCD-AE11-D2FB3EA4D6C4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A775697-C350-49B1-830C-07782F1E9B2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306FF2E0-7F49-42E6-8C1D-BB46AF4535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7E95478-27E9-4534-B0BB-F5EE694AC72F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29B698AA-E9A9-429E-B23D-40017E654F6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5BE349EE-CB6D-497B-A1D2-3EC0FC3FD4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5B5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F6BB691-9238-4490-874A-5B9799CCF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764C62-BB80-422D-AB9E-31B19B5E8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126E0C07-1C3A-4DA8-A1BB-AE5B39CF9F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2297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ia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id="{32286FCB-35E4-400E-BDDD-D7E710C3894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1F29CA01-9AA2-4A6E-B763-7DFF63A0382E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id="{C91FB547-4535-4F89-9245-E2059482F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id="{7F121BEE-F9BC-48AF-8B6E-72DAAF14C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id="{C9852130-0030-4DC2-8CFA-0FE1729218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id="{437C147E-2FE6-41A4-B318-47CEF09A3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id="{A4C9C773-E179-4C97-B4B7-4CF1FA7283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id="{C7222E89-4CDE-4E59-9819-F8DF6602C3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id="{689F2986-D9FA-47BD-9A84-E04D52D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id="{285010E5-C8FA-462A-BFAC-A0E8B87359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id="{E31942C0-C470-4A10-AC35-A6C0E1CE22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id="{876CA04C-7CE5-48F8-96EB-561A39AF3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id="{A7AD6CEB-8F7D-4E44-A54D-C304190703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id="{D1C747A9-A4D8-42F0-B8C0-037674B15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id="{11C570D4-AF9F-463C-AC71-636A181180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id="{790772C2-E970-427B-B598-87BEE7A156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id="{52E5548A-924E-4FD5-B64F-B0DC8188D1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id="{4F79D22B-8287-45CC-BFCE-63BD3F012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id="{5FED44C9-3FA7-4025-93C2-4E58BCC5B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id="{DF61495A-D26C-4596-AA48-42F474A1E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id="{AF032CC5-9B90-4ECC-AC7C-77998B430C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id="{C7201AEE-5086-48F1-992C-3159FB1337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id="{7B2D4CCE-FECB-4546-9485-4EEFCD3FDB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id="{EBA3E753-5382-4DB4-8051-AE0B690216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id="{345ABCEB-712B-4CC8-B01A-AE422382F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id="{BAC1B222-4A98-44D1-8FDE-D5555BB333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id="{10DE74EF-347D-4E5C-BA2A-DF5E1CE039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id="{529D23A7-386F-43A5-819B-6B216FACB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id="{2DB2B982-F7CB-433D-AEAF-7C64B2644B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id="{5DE90F3D-B275-411E-9537-3CE7C2BA8B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id="{50C7B955-C402-4C35-829C-318B42F68D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id="{5E0C601B-5365-40CD-B898-672420F5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id="{06A659A2-135C-4236-B053-18236B3CE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id="{B075E943-6AD1-497D-B491-3034D8F8A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id="{3025FD87-5D20-4E99-BE6D-AF8AAA6E15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id="{CB1E0C73-BD0A-43E7-A7F5-E8259F7EA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id="{388D15B5-E5CC-499F-B0A3-D8B7FA080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id="{CFC452AB-11A0-4BB2-A8A9-023E41F1AC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id="{C4237CFF-11D5-46B7-8F97-09B406389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id="{78FBCD9A-4EFF-4158-B46F-CD03283066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id="{90EDA034-65D3-42AF-A144-DFBF407CC5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id="{25D60A1F-9E4F-44D3-B590-A2F366BAC6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id="{DDB5CF59-1F0F-4C71-B2CE-2DB1227B5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id="{B43B6CEB-3140-4392-855B-E27EAD11F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A7894D40-0182-4154-8D11-73EC182ECA3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id="{67EA1BA7-31FF-4E81-BD6C-9B48E1D98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id="{0F3716BE-9E32-4192-A0C8-69953E165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id="{A0971F3D-633B-4D98-9CF1-8353512F4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id="{62F453AD-C865-4D7B-9037-E18F3B0EE5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id="{1D167542-7C4B-43D5-B2A1-10043F213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id="{7407F547-4C59-489A-891B-16569CC932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id="{C0DF8500-52F2-4613-BEA0-2BCEB159E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id="{C467A411-F5A9-4808-9740-2A9C76E68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id="{88A0E896-98D6-4F01-9105-5F389957F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id="{1A7B995A-8AE7-4B09-849A-69529F4E2B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id="{92476F3E-12C4-4C84-A4BD-13EA301542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id="{BB044396-5319-4237-BC86-F5F7E8FBD0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id="{EC08C266-1E7A-4C30-966F-BC4A1DE915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id="{B7C93D08-3C23-4EC9-B657-61A76EA434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id="{58F085B6-ED7E-4D8D-A583-0EC5080978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id="{2724AF1D-ABD7-4816-A440-1C2159776C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id="{9C31FA88-7C50-449C-9AEB-CCA83173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id="{8D7A65C5-C982-4842-849F-BF6086F2A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id="{E56C44B6-431A-471E-B57C-6273D887F3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id="{7484E33C-D609-4D51-BC9E-22A929719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id="{8ED59B03-55CF-4104-B29B-8AB3E16DB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id="{3D8ECEF4-D223-48CC-BFD2-1398F146A4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id="{855EA8B7-A432-4CAD-9A89-A21098552F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id="{54DDDFD8-FA7B-4EAD-8F08-355D029532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id="{BB111094-633D-4924-A48A-CFEDCEBE04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id="{40F76D33-4D39-45E4-B838-9647319D99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id="{F80701FE-1A5F-45D7-BDF3-250518257A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id="{48DF0E4D-4C2F-4C64-A719-0DD9BEE990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id="{6730F358-23BA-4CAF-A3CA-827A9E61BF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id="{23B5ED84-CD63-495A-BF0B-24E62FCAE0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id="{96FCDA86-46B9-405E-804D-B24751E6C9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id="{CB202179-349C-4C34-A6FB-2D8AA9FB2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id="{58DFC63D-07B9-40A1-BF00-7570EBBB43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id="{D63ABD88-70B7-44DF-9B9C-A720AF7491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id="{17F22C70-99C4-4DE1-8A5C-F9F8CBAC3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id="{F00C4471-E734-41F3-8B45-21F7024839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id="{04BDBD7B-C9FB-4D10-9910-D2B4C64F1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id="{5502B4C5-6AF0-4C49-976C-372A66CCD9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id="{5FC3E82F-88B0-481A-841A-0D25D07581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id="{5F786A5E-CAE8-47C1-AB05-82D4DB1039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id="{D6ACCB7D-47B6-4DDD-B10D-568095FE4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id="{5FB42A39-ED59-47E6-94B0-F0F064D1C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id="{9B70BAFB-8DB8-4E9A-91C5-1F2B9820CCF6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id="{6EEDF0C7-3ECE-4221-8943-DE530844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id="{BA808246-C7D7-4B23-99C6-BFCA955197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id="{12365EE9-BD37-4CEB-AAC8-ECCCB69FE3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id="{377C52E5-057F-4CEC-B837-AC76FB53D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id="{E1E9634F-27C4-4456-8BDB-D0A7125665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id="{1C533FBD-CE36-4CD4-9C4D-89C591B301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id="{3BBD2D2C-0CFB-4710-B02F-8B93A7090D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id="{92D72C2E-F7F9-4D1A-8B9A-DD056562B8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id="{5B06493A-589E-4CF7-84F7-94B5234405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id="{42171A5C-A7A2-4384-8E79-DB93ED94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id="{069DCE30-A2FE-4C1D-BD88-F200839A6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id="{AAADB396-7CD1-4CA8-979C-049090FCFC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id="{0C530247-7FFA-41C4-A63D-6E56251316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id="{ABC2AE92-9244-4E6E-98C2-8244C385E2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id="{6EE769FA-136E-43EF-A95C-4D44ABA50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id="{AA8243F9-9B7A-4158-A780-42EF3D7F2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id="{A3D9B561-0BF4-43DF-84E0-300AF3E610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id="{8C6CF15B-1F6B-4466-B3C4-5CB40070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id="{B811F8B9-54F4-463F-BC01-50FA677A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id="{964EDBFB-FD30-4E69-9EEC-7E85A74C8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id="{AE4ED65E-C6AF-4D82-8D5E-848A5A9356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id="{A2E40F0B-F02C-45A7-AA02-14AB8821B9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id="{A9BB25FD-1F45-4769-AB54-94DA44DD35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F30BE18-6E63-4164-8D1A-88DE96BBC44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id="{3E314792-7FE6-4AE3-9E4F-7DE8FE9553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id="{4B657182-59AE-4F2C-A4E2-ADEC57C5C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id="{79041CFA-A7DC-4E50-98A4-7DAF2B6B9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id="{3E450579-FB1F-4F2F-9A5B-0399067122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id="{5D353B1A-F03E-4E1E-B858-D233582EE4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id="{DC00A572-E708-46A2-9827-CBB9E02EF0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id="{662AE617-5F09-4428-A151-E0B62A564F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id="{9F06328B-B1ED-41C2-9387-D2C4A0F5C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id="{0C25D065-6D93-471C-A9EF-22C3C151E2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id="{01E45BCE-A7F0-4CE0-AA93-20EFA18969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id="{722931B8-1381-44E2-AFBB-21FCA474E2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id="{EED7A81C-9A5B-49A6-9908-4D8E02CFF0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id="{0FFD1464-2F9E-46EB-A838-BA41DA7399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id="{1CF021A6-D29C-4CFC-ABA6-34CADD7DEA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id="{C3EB8EBC-E953-44E6-8389-B1E5871A21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id="{A52F0261-9248-40A1-9C90-1EDA8B406B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id="{75C3C9A7-0801-4B10-80D3-3AE907C505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id="{F5989F96-0D60-4F32-A202-DA2107D24C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id="{FAD57A59-0A2E-40DC-A6BB-5A266A0E73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id="{5C5E89CB-5E7A-41B1-A180-0BCF0C01C8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id="{BCEE807F-8FA0-47AE-AA3E-367A64B79C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id="{7D90227B-884F-463A-A727-C36D512F9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id="{DD636581-FC1A-4470-A240-DA8394A0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id="{2843B75D-07A0-4253-97CF-28B0930151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id="{CE824FB4-26CC-422C-8E2B-56628C71E04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id="{0FB809FF-42C3-45BF-AC31-13A7EAF616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id="{9C89541D-45F7-4B06-A07A-153A14DC5FF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id="{5FFBB45F-4AC7-4579-B0F5-26E2BE9EAF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id="{7B1D8F21-E2F3-459B-A17C-0816558ED3B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id="{16925EE0-1C8E-405C-B272-0EE82197631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id="{C5116F01-1373-4B37-BCE2-6AE9CABC4C9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125FEB2-7A78-4281-BC41-7246ABACC66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36DB12-BC50-4649-BD2D-F8C19609D4C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9F2819A1-DE65-417E-BDCF-E89994BAE7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64303D7-E71D-444B-9E76-98FD9D08B89D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C265AD80-1064-4820-8615-4E2BAF9FEF74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7BC2F1C0-1201-4CF3-A59D-DA0B61494DFD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AB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l-NL" noProof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DCF67A-5123-41EE-A9E5-737482F5B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F93132-BD04-4DAF-BA45-45AA214A60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id="{44C578B4-16C1-4A2C-9DF4-E497C0869F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70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21788EF-2EBB-4BEF-BAD0-F93CD87455CF}"/>
              </a:ext>
            </a:extLst>
          </p:cNvPr>
          <p:cNvSpPr/>
          <p:nvPr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8D637CB-44E5-4674-AC3E-2546B1D73352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225553"/>
            <a:ext cx="8495070" cy="3115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/>
              <a:t>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</a:p>
          <a:p>
            <a:pPr lvl="5"/>
            <a:r>
              <a:rPr lang="nl-NL"/>
              <a:t>S</a:t>
            </a:r>
            <a:r>
              <a:rPr lang="nl-NL" noProof="0"/>
              <a:t>ix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4999" y="4679774"/>
            <a:ext cx="3915569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4255" y="4679774"/>
            <a:ext cx="335280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AD76D5-782B-4E9E-A960-A247AE9D34FB}"/>
              </a:ext>
            </a:extLst>
          </p:cNvPr>
          <p:cNvGrpSpPr/>
          <p:nvPr/>
        </p:nvGrpSpPr>
        <p:grpSpPr>
          <a:xfrm>
            <a:off x="-2971800" y="0"/>
            <a:ext cx="2695810" cy="2435226"/>
            <a:chOff x="-2971800" y="0"/>
            <a:chExt cx="2695810" cy="2435226"/>
          </a:xfrm>
        </p:grpSpPr>
        <p:sp>
          <p:nvSpPr>
            <p:cNvPr id="141" name="Content Placeholder 1">
              <a:extLst>
                <a:ext uri="{FF2B5EF4-FFF2-40B4-BE49-F238E27FC236}">
                  <a16:creationId xmlns:a16="http://schemas.microsoft.com/office/drawing/2014/main" id="{F5FAA5C7-4E87-45B7-9A02-713BFA43B92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62274" y="0"/>
              <a:ext cx="2686284" cy="154513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685800" rtl="0" eaLnBrk="1" latinLnBrk="0" hangingPunct="1">
                <a:lnSpc>
                  <a:spcPct val="101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3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3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2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7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nl-NL" sz="1100" b="1">
                  <a:solidFill>
                    <a:schemeClr val="tx1"/>
                  </a:solidFill>
                </a:rPr>
                <a:t>Bullets voeg je toe met de buttons ‘Lijstniveau’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1: subtitel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2: tekst zonder bullet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>
                  <a:solidFill>
                    <a:schemeClr val="tx1"/>
                  </a:solidFill>
                </a:rPr>
                <a:t>Niveau 3 t/m 8: tekst met bullets </a:t>
              </a:r>
            </a:p>
            <a:p>
              <a:r>
                <a:rPr lang="nl-NL" sz="1100">
                  <a:solidFill>
                    <a:schemeClr val="tx1"/>
                  </a:solidFill>
                </a:rPr>
                <a:t>Met het pijltje naar links, verlaag je het niveau. Met het pijltje naar rechts, verhoog je het niveau. </a:t>
              </a:r>
            </a:p>
          </p:txBody>
        </p:sp>
        <p:pic>
          <p:nvPicPr>
            <p:cNvPr id="142" name="Afbeelding 25">
              <a:extLst>
                <a:ext uri="{FF2B5EF4-FFF2-40B4-BE49-F238E27FC236}">
                  <a16:creationId xmlns:a16="http://schemas.microsoft.com/office/drawing/2014/main" id="{F60795CA-DA31-401E-84FB-EBE1F8F439B2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33"/>
            <a:srcRect l="15744" t="27663" r="17943" b="39396"/>
            <a:stretch/>
          </p:blipFill>
          <p:spPr bwMode="auto">
            <a:xfrm>
              <a:off x="-2971800" y="1684619"/>
              <a:ext cx="2686285" cy="750607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D254E2E-77D6-432C-9928-6B16C3225AE9}"/>
              </a:ext>
            </a:extLst>
          </p:cNvPr>
          <p:cNvGrpSpPr/>
          <p:nvPr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B56DE85-0D2C-40DE-A6D3-82BBA51483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153" name="Line 147">
                <a:extLst>
                  <a:ext uri="{FF2B5EF4-FFF2-40B4-BE49-F238E27FC236}">
                    <a16:creationId xmlns:a16="http://schemas.microsoft.com/office/drawing/2014/main" id="{5FEFDE83-EEE5-4E4A-8A98-FE8F835F47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149">
                <a:extLst>
                  <a:ext uri="{FF2B5EF4-FFF2-40B4-BE49-F238E27FC236}">
                    <a16:creationId xmlns:a16="http://schemas.microsoft.com/office/drawing/2014/main" id="{3DD4B3CA-B9B8-4DE7-9A55-406FB6E54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151">
                <a:extLst>
                  <a:ext uri="{FF2B5EF4-FFF2-40B4-BE49-F238E27FC236}">
                    <a16:creationId xmlns:a16="http://schemas.microsoft.com/office/drawing/2014/main" id="{B3530C86-A622-458F-8F45-D06FA12FE6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153">
                <a:extLst>
                  <a:ext uri="{FF2B5EF4-FFF2-40B4-BE49-F238E27FC236}">
                    <a16:creationId xmlns:a16="http://schemas.microsoft.com/office/drawing/2014/main" id="{83B03FF0-4250-42D3-A6C2-FE26B1C78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155">
                <a:extLst>
                  <a:ext uri="{FF2B5EF4-FFF2-40B4-BE49-F238E27FC236}">
                    <a16:creationId xmlns:a16="http://schemas.microsoft.com/office/drawing/2014/main" id="{817D47CF-C6BB-47E7-A0A8-F1C70BD41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157">
                <a:extLst>
                  <a:ext uri="{FF2B5EF4-FFF2-40B4-BE49-F238E27FC236}">
                    <a16:creationId xmlns:a16="http://schemas.microsoft.com/office/drawing/2014/main" id="{C3EF52EA-2F33-43AE-A9D2-3E0FB6CF2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159">
                <a:extLst>
                  <a:ext uri="{FF2B5EF4-FFF2-40B4-BE49-F238E27FC236}">
                    <a16:creationId xmlns:a16="http://schemas.microsoft.com/office/drawing/2014/main" id="{3D9C4C01-51E3-4A4D-9808-E66E9B165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161">
                <a:extLst>
                  <a:ext uri="{FF2B5EF4-FFF2-40B4-BE49-F238E27FC236}">
                    <a16:creationId xmlns:a16="http://schemas.microsoft.com/office/drawing/2014/main" id="{1909DE2F-F933-4301-9938-ED4B35C03A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163">
                <a:extLst>
                  <a:ext uri="{FF2B5EF4-FFF2-40B4-BE49-F238E27FC236}">
                    <a16:creationId xmlns:a16="http://schemas.microsoft.com/office/drawing/2014/main" id="{8772DAE5-1C91-4A82-BC9E-98B0E4475B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165">
                <a:extLst>
                  <a:ext uri="{FF2B5EF4-FFF2-40B4-BE49-F238E27FC236}">
                    <a16:creationId xmlns:a16="http://schemas.microsoft.com/office/drawing/2014/main" id="{CC412C51-87B8-427E-8162-CFC937F7F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167">
                <a:extLst>
                  <a:ext uri="{FF2B5EF4-FFF2-40B4-BE49-F238E27FC236}">
                    <a16:creationId xmlns:a16="http://schemas.microsoft.com/office/drawing/2014/main" id="{E944767C-479F-48F8-8D8C-E1565AEF04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169">
                <a:extLst>
                  <a:ext uri="{FF2B5EF4-FFF2-40B4-BE49-F238E27FC236}">
                    <a16:creationId xmlns:a16="http://schemas.microsoft.com/office/drawing/2014/main" id="{FEAB60EA-8945-48DB-A976-242A804B5B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171">
                <a:extLst>
                  <a:ext uri="{FF2B5EF4-FFF2-40B4-BE49-F238E27FC236}">
                    <a16:creationId xmlns:a16="http://schemas.microsoft.com/office/drawing/2014/main" id="{F6A55B54-53BC-40BC-8D6D-BDE33763B6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173">
                <a:extLst>
                  <a:ext uri="{FF2B5EF4-FFF2-40B4-BE49-F238E27FC236}">
                    <a16:creationId xmlns:a16="http://schemas.microsoft.com/office/drawing/2014/main" id="{AF3CD39D-0D2E-481E-9AE6-4436AFA599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175">
                <a:extLst>
                  <a:ext uri="{FF2B5EF4-FFF2-40B4-BE49-F238E27FC236}">
                    <a16:creationId xmlns:a16="http://schemas.microsoft.com/office/drawing/2014/main" id="{146DACAF-3098-4162-9158-3D24D3B60A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177">
                <a:extLst>
                  <a:ext uri="{FF2B5EF4-FFF2-40B4-BE49-F238E27FC236}">
                    <a16:creationId xmlns:a16="http://schemas.microsoft.com/office/drawing/2014/main" id="{256F346D-24DD-4F24-991E-566D7F8E5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179">
                <a:extLst>
                  <a:ext uri="{FF2B5EF4-FFF2-40B4-BE49-F238E27FC236}">
                    <a16:creationId xmlns:a16="http://schemas.microsoft.com/office/drawing/2014/main" id="{EBED5D9A-DB96-484C-A448-AAAD6C411C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181">
                <a:extLst>
                  <a:ext uri="{FF2B5EF4-FFF2-40B4-BE49-F238E27FC236}">
                    <a16:creationId xmlns:a16="http://schemas.microsoft.com/office/drawing/2014/main" id="{5095CC46-658D-4B42-AC33-CF1D9A5C69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183">
                <a:extLst>
                  <a:ext uri="{FF2B5EF4-FFF2-40B4-BE49-F238E27FC236}">
                    <a16:creationId xmlns:a16="http://schemas.microsoft.com/office/drawing/2014/main" id="{3A3278C3-8FEF-4DB3-8D27-EA9DDDDAC0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185">
                <a:extLst>
                  <a:ext uri="{FF2B5EF4-FFF2-40B4-BE49-F238E27FC236}">
                    <a16:creationId xmlns:a16="http://schemas.microsoft.com/office/drawing/2014/main" id="{96139829-0880-48FA-85AB-9BABACED66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187">
                <a:extLst>
                  <a:ext uri="{FF2B5EF4-FFF2-40B4-BE49-F238E27FC236}">
                    <a16:creationId xmlns:a16="http://schemas.microsoft.com/office/drawing/2014/main" id="{5D5A0A73-D3CF-436B-8FC9-EBF8C2788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189">
                <a:extLst>
                  <a:ext uri="{FF2B5EF4-FFF2-40B4-BE49-F238E27FC236}">
                    <a16:creationId xmlns:a16="http://schemas.microsoft.com/office/drawing/2014/main" id="{9DB430F4-6030-4A92-B01B-75A70220E8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191">
                <a:extLst>
                  <a:ext uri="{FF2B5EF4-FFF2-40B4-BE49-F238E27FC236}">
                    <a16:creationId xmlns:a16="http://schemas.microsoft.com/office/drawing/2014/main" id="{75FCF589-5B53-4512-957D-CB92184A4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193">
                <a:extLst>
                  <a:ext uri="{FF2B5EF4-FFF2-40B4-BE49-F238E27FC236}">
                    <a16:creationId xmlns:a16="http://schemas.microsoft.com/office/drawing/2014/main" id="{8DB883E1-B8AF-4EE0-84AA-1A741C163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95">
                <a:extLst>
                  <a:ext uri="{FF2B5EF4-FFF2-40B4-BE49-F238E27FC236}">
                    <a16:creationId xmlns:a16="http://schemas.microsoft.com/office/drawing/2014/main" id="{9B6911AD-1181-4885-8D13-0FBA65B57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97">
                <a:extLst>
                  <a:ext uri="{FF2B5EF4-FFF2-40B4-BE49-F238E27FC236}">
                    <a16:creationId xmlns:a16="http://schemas.microsoft.com/office/drawing/2014/main" id="{0EDF4851-DBA8-4E07-9682-6FB98C28B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99">
                <a:extLst>
                  <a:ext uri="{FF2B5EF4-FFF2-40B4-BE49-F238E27FC236}">
                    <a16:creationId xmlns:a16="http://schemas.microsoft.com/office/drawing/2014/main" id="{2B7597B1-EBBA-4CB9-8910-52C57755DE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01">
                <a:extLst>
                  <a:ext uri="{FF2B5EF4-FFF2-40B4-BE49-F238E27FC236}">
                    <a16:creationId xmlns:a16="http://schemas.microsoft.com/office/drawing/2014/main" id="{B3E3A3A2-960E-42D6-A1CC-3A403B7EAE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03">
                <a:extLst>
                  <a:ext uri="{FF2B5EF4-FFF2-40B4-BE49-F238E27FC236}">
                    <a16:creationId xmlns:a16="http://schemas.microsoft.com/office/drawing/2014/main" id="{02035D2F-A998-4950-AE82-905F9ABBA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05">
                <a:extLst>
                  <a:ext uri="{FF2B5EF4-FFF2-40B4-BE49-F238E27FC236}">
                    <a16:creationId xmlns:a16="http://schemas.microsoft.com/office/drawing/2014/main" id="{79683E9A-C2A4-481F-BD11-605ED99219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07">
                <a:extLst>
                  <a:ext uri="{FF2B5EF4-FFF2-40B4-BE49-F238E27FC236}">
                    <a16:creationId xmlns:a16="http://schemas.microsoft.com/office/drawing/2014/main" id="{8F81DD22-983F-444D-8803-91ADCA8B78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09">
                <a:extLst>
                  <a:ext uri="{FF2B5EF4-FFF2-40B4-BE49-F238E27FC236}">
                    <a16:creationId xmlns:a16="http://schemas.microsoft.com/office/drawing/2014/main" id="{C709F13B-D4C9-458B-AB69-F68D1EBA19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11">
                <a:extLst>
                  <a:ext uri="{FF2B5EF4-FFF2-40B4-BE49-F238E27FC236}">
                    <a16:creationId xmlns:a16="http://schemas.microsoft.com/office/drawing/2014/main" id="{AEF3383B-4DC0-4333-978C-576D52EB2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13">
                <a:extLst>
                  <a:ext uri="{FF2B5EF4-FFF2-40B4-BE49-F238E27FC236}">
                    <a16:creationId xmlns:a16="http://schemas.microsoft.com/office/drawing/2014/main" id="{61E8A642-B7B3-48D6-8101-2C18BFAB88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215">
                <a:extLst>
                  <a:ext uri="{FF2B5EF4-FFF2-40B4-BE49-F238E27FC236}">
                    <a16:creationId xmlns:a16="http://schemas.microsoft.com/office/drawing/2014/main" id="{DF0B3E3F-01CC-4215-8FF4-2831C565F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217">
                <a:extLst>
                  <a:ext uri="{FF2B5EF4-FFF2-40B4-BE49-F238E27FC236}">
                    <a16:creationId xmlns:a16="http://schemas.microsoft.com/office/drawing/2014/main" id="{080C5B27-1C6D-4E5C-B887-84246D223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219">
                <a:extLst>
                  <a:ext uri="{FF2B5EF4-FFF2-40B4-BE49-F238E27FC236}">
                    <a16:creationId xmlns:a16="http://schemas.microsoft.com/office/drawing/2014/main" id="{91562967-2BE3-4A9F-BDA8-A7C50A0529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21">
                <a:extLst>
                  <a:ext uri="{FF2B5EF4-FFF2-40B4-BE49-F238E27FC236}">
                    <a16:creationId xmlns:a16="http://schemas.microsoft.com/office/drawing/2014/main" id="{734FD388-551A-49B7-ABA4-ADAF83C0D3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23">
                <a:extLst>
                  <a:ext uri="{FF2B5EF4-FFF2-40B4-BE49-F238E27FC236}">
                    <a16:creationId xmlns:a16="http://schemas.microsoft.com/office/drawing/2014/main" id="{37835133-DF22-4E6B-9DB2-A6B97A56B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25">
                <a:extLst>
                  <a:ext uri="{FF2B5EF4-FFF2-40B4-BE49-F238E27FC236}">
                    <a16:creationId xmlns:a16="http://schemas.microsoft.com/office/drawing/2014/main" id="{F8103CFD-5AFA-48E3-AB09-39118A45C1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27">
                <a:extLst>
                  <a:ext uri="{FF2B5EF4-FFF2-40B4-BE49-F238E27FC236}">
                    <a16:creationId xmlns:a16="http://schemas.microsoft.com/office/drawing/2014/main" id="{E2CE1821-849D-4D99-81CD-7A60846D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29">
                <a:extLst>
                  <a:ext uri="{FF2B5EF4-FFF2-40B4-BE49-F238E27FC236}">
                    <a16:creationId xmlns:a16="http://schemas.microsoft.com/office/drawing/2014/main" id="{BD04076E-54A0-44DC-AE5D-844BD479A9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2445282-B7E3-4175-BDE7-286D20BC5DE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152" name="Line 146">
                <a:extLst>
                  <a:ext uri="{FF2B5EF4-FFF2-40B4-BE49-F238E27FC236}">
                    <a16:creationId xmlns:a16="http://schemas.microsoft.com/office/drawing/2014/main" id="{282C4CA5-64D4-45DD-A23A-337115F3E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" name="Line 148">
                <a:extLst>
                  <a:ext uri="{FF2B5EF4-FFF2-40B4-BE49-F238E27FC236}">
                    <a16:creationId xmlns:a16="http://schemas.microsoft.com/office/drawing/2014/main" id="{E0336EA7-E418-4A1E-8DC7-42241379F6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150">
                <a:extLst>
                  <a:ext uri="{FF2B5EF4-FFF2-40B4-BE49-F238E27FC236}">
                    <a16:creationId xmlns:a16="http://schemas.microsoft.com/office/drawing/2014/main" id="{89C4E992-2AB2-44DF-BA47-D382E17EF4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152">
                <a:extLst>
                  <a:ext uri="{FF2B5EF4-FFF2-40B4-BE49-F238E27FC236}">
                    <a16:creationId xmlns:a16="http://schemas.microsoft.com/office/drawing/2014/main" id="{389A993F-6EDF-4269-AA79-189C42CD86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154">
                <a:extLst>
                  <a:ext uri="{FF2B5EF4-FFF2-40B4-BE49-F238E27FC236}">
                    <a16:creationId xmlns:a16="http://schemas.microsoft.com/office/drawing/2014/main" id="{70A2F1CD-3F54-46FE-979D-2596C7445F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156">
                <a:extLst>
                  <a:ext uri="{FF2B5EF4-FFF2-40B4-BE49-F238E27FC236}">
                    <a16:creationId xmlns:a16="http://schemas.microsoft.com/office/drawing/2014/main" id="{2EE39B17-F38F-408D-BBFC-1FD1F3A700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158">
                <a:extLst>
                  <a:ext uri="{FF2B5EF4-FFF2-40B4-BE49-F238E27FC236}">
                    <a16:creationId xmlns:a16="http://schemas.microsoft.com/office/drawing/2014/main" id="{CBF9970E-27B6-4D73-BF91-DED53EADA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160">
                <a:extLst>
                  <a:ext uri="{FF2B5EF4-FFF2-40B4-BE49-F238E27FC236}">
                    <a16:creationId xmlns:a16="http://schemas.microsoft.com/office/drawing/2014/main" id="{2B5555A0-ADDF-4B57-8982-0892EE5E03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162">
                <a:extLst>
                  <a:ext uri="{FF2B5EF4-FFF2-40B4-BE49-F238E27FC236}">
                    <a16:creationId xmlns:a16="http://schemas.microsoft.com/office/drawing/2014/main" id="{A2191E47-738C-4A3E-A3C2-178906560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164">
                <a:extLst>
                  <a:ext uri="{FF2B5EF4-FFF2-40B4-BE49-F238E27FC236}">
                    <a16:creationId xmlns:a16="http://schemas.microsoft.com/office/drawing/2014/main" id="{F30CCA85-8AF9-4C76-8EC9-BB1B040CAF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166">
                <a:extLst>
                  <a:ext uri="{FF2B5EF4-FFF2-40B4-BE49-F238E27FC236}">
                    <a16:creationId xmlns:a16="http://schemas.microsoft.com/office/drawing/2014/main" id="{866602AC-17C4-4670-9B13-51A7D3A6AA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168">
                <a:extLst>
                  <a:ext uri="{FF2B5EF4-FFF2-40B4-BE49-F238E27FC236}">
                    <a16:creationId xmlns:a16="http://schemas.microsoft.com/office/drawing/2014/main" id="{082C1B97-02C9-4799-9705-8C18C7198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170">
                <a:extLst>
                  <a:ext uri="{FF2B5EF4-FFF2-40B4-BE49-F238E27FC236}">
                    <a16:creationId xmlns:a16="http://schemas.microsoft.com/office/drawing/2014/main" id="{7735D19C-B7D4-480A-8CD3-B36206AD1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172">
                <a:extLst>
                  <a:ext uri="{FF2B5EF4-FFF2-40B4-BE49-F238E27FC236}">
                    <a16:creationId xmlns:a16="http://schemas.microsoft.com/office/drawing/2014/main" id="{65B9A429-5CFE-4AB2-8A88-2F3631029E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174">
                <a:extLst>
                  <a:ext uri="{FF2B5EF4-FFF2-40B4-BE49-F238E27FC236}">
                    <a16:creationId xmlns:a16="http://schemas.microsoft.com/office/drawing/2014/main" id="{3277F000-3A9A-458B-B3B9-81E593A6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176">
                <a:extLst>
                  <a:ext uri="{FF2B5EF4-FFF2-40B4-BE49-F238E27FC236}">
                    <a16:creationId xmlns:a16="http://schemas.microsoft.com/office/drawing/2014/main" id="{BBB2349A-E5AB-476E-B0E7-8BA64DD1D1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178">
                <a:extLst>
                  <a:ext uri="{FF2B5EF4-FFF2-40B4-BE49-F238E27FC236}">
                    <a16:creationId xmlns:a16="http://schemas.microsoft.com/office/drawing/2014/main" id="{296BA42C-7164-4843-BD24-EC1C88139A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180">
                <a:extLst>
                  <a:ext uri="{FF2B5EF4-FFF2-40B4-BE49-F238E27FC236}">
                    <a16:creationId xmlns:a16="http://schemas.microsoft.com/office/drawing/2014/main" id="{7D524C19-30ED-4FF1-8873-ABB3CBB21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182">
                <a:extLst>
                  <a:ext uri="{FF2B5EF4-FFF2-40B4-BE49-F238E27FC236}">
                    <a16:creationId xmlns:a16="http://schemas.microsoft.com/office/drawing/2014/main" id="{9B6EB560-4259-4778-BCAB-28D4B38EB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184">
                <a:extLst>
                  <a:ext uri="{FF2B5EF4-FFF2-40B4-BE49-F238E27FC236}">
                    <a16:creationId xmlns:a16="http://schemas.microsoft.com/office/drawing/2014/main" id="{7BD51652-881A-42C3-AAB2-3E1AD8C1F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186">
                <a:extLst>
                  <a:ext uri="{FF2B5EF4-FFF2-40B4-BE49-F238E27FC236}">
                    <a16:creationId xmlns:a16="http://schemas.microsoft.com/office/drawing/2014/main" id="{67BAD74E-1C00-4BBA-B900-9CC048BB2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188">
                <a:extLst>
                  <a:ext uri="{FF2B5EF4-FFF2-40B4-BE49-F238E27FC236}">
                    <a16:creationId xmlns:a16="http://schemas.microsoft.com/office/drawing/2014/main" id="{36F5B006-EE9F-4BF4-994E-8009F4EF84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190">
                <a:extLst>
                  <a:ext uri="{FF2B5EF4-FFF2-40B4-BE49-F238E27FC236}">
                    <a16:creationId xmlns:a16="http://schemas.microsoft.com/office/drawing/2014/main" id="{16246B03-960A-4BA9-A91A-42029BFADA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192">
                <a:extLst>
                  <a:ext uri="{FF2B5EF4-FFF2-40B4-BE49-F238E27FC236}">
                    <a16:creationId xmlns:a16="http://schemas.microsoft.com/office/drawing/2014/main" id="{CD5A87E8-878B-464B-9144-F0D8630AC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194">
                <a:extLst>
                  <a:ext uri="{FF2B5EF4-FFF2-40B4-BE49-F238E27FC236}">
                    <a16:creationId xmlns:a16="http://schemas.microsoft.com/office/drawing/2014/main" id="{2B813154-AF69-4300-9CD5-44BF13FDEF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96">
                <a:extLst>
                  <a:ext uri="{FF2B5EF4-FFF2-40B4-BE49-F238E27FC236}">
                    <a16:creationId xmlns:a16="http://schemas.microsoft.com/office/drawing/2014/main" id="{35E0EF02-193C-48B6-AEAC-0161572589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98">
                <a:extLst>
                  <a:ext uri="{FF2B5EF4-FFF2-40B4-BE49-F238E27FC236}">
                    <a16:creationId xmlns:a16="http://schemas.microsoft.com/office/drawing/2014/main" id="{BDC93715-BE24-4CB2-B5F3-387E2514C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00">
                <a:extLst>
                  <a:ext uri="{FF2B5EF4-FFF2-40B4-BE49-F238E27FC236}">
                    <a16:creationId xmlns:a16="http://schemas.microsoft.com/office/drawing/2014/main" id="{B9BF7124-4828-4D76-87E3-9C0E5E368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02">
                <a:extLst>
                  <a:ext uri="{FF2B5EF4-FFF2-40B4-BE49-F238E27FC236}">
                    <a16:creationId xmlns:a16="http://schemas.microsoft.com/office/drawing/2014/main" id="{5CF319D5-E431-47ED-8A3F-DD619530F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04">
                <a:extLst>
                  <a:ext uri="{FF2B5EF4-FFF2-40B4-BE49-F238E27FC236}">
                    <a16:creationId xmlns:a16="http://schemas.microsoft.com/office/drawing/2014/main" id="{452B7707-CA70-4354-AE17-C69D84338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06">
                <a:extLst>
                  <a:ext uri="{FF2B5EF4-FFF2-40B4-BE49-F238E27FC236}">
                    <a16:creationId xmlns:a16="http://schemas.microsoft.com/office/drawing/2014/main" id="{D0F71BA1-7CD5-42DC-8EC5-E8FB2440B6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08">
                <a:extLst>
                  <a:ext uri="{FF2B5EF4-FFF2-40B4-BE49-F238E27FC236}">
                    <a16:creationId xmlns:a16="http://schemas.microsoft.com/office/drawing/2014/main" id="{B7AB4371-BB46-4B69-B310-5D9566B925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10">
                <a:extLst>
                  <a:ext uri="{FF2B5EF4-FFF2-40B4-BE49-F238E27FC236}">
                    <a16:creationId xmlns:a16="http://schemas.microsoft.com/office/drawing/2014/main" id="{2B1F3EF4-DD37-4578-A031-A0FC7D09B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12">
                <a:extLst>
                  <a:ext uri="{FF2B5EF4-FFF2-40B4-BE49-F238E27FC236}">
                    <a16:creationId xmlns:a16="http://schemas.microsoft.com/office/drawing/2014/main" id="{7E09F782-1637-4EB7-A47C-CA80B6ED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14">
                <a:extLst>
                  <a:ext uri="{FF2B5EF4-FFF2-40B4-BE49-F238E27FC236}">
                    <a16:creationId xmlns:a16="http://schemas.microsoft.com/office/drawing/2014/main" id="{906E1D4A-F32D-4E7B-B4D3-E1760499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216">
                <a:extLst>
                  <a:ext uri="{FF2B5EF4-FFF2-40B4-BE49-F238E27FC236}">
                    <a16:creationId xmlns:a16="http://schemas.microsoft.com/office/drawing/2014/main" id="{81AFC20F-3332-4988-9210-04CF6B1BF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218">
                <a:extLst>
                  <a:ext uri="{FF2B5EF4-FFF2-40B4-BE49-F238E27FC236}">
                    <a16:creationId xmlns:a16="http://schemas.microsoft.com/office/drawing/2014/main" id="{6C78AFB6-1EF6-4723-AAD6-76C78E5AB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220">
                <a:extLst>
                  <a:ext uri="{FF2B5EF4-FFF2-40B4-BE49-F238E27FC236}">
                    <a16:creationId xmlns:a16="http://schemas.microsoft.com/office/drawing/2014/main" id="{6404F38C-FC75-40FC-AFA8-B8C87FD1F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22">
                <a:extLst>
                  <a:ext uri="{FF2B5EF4-FFF2-40B4-BE49-F238E27FC236}">
                    <a16:creationId xmlns:a16="http://schemas.microsoft.com/office/drawing/2014/main" id="{E279312B-B482-4F87-8417-11C546785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24">
                <a:extLst>
                  <a:ext uri="{FF2B5EF4-FFF2-40B4-BE49-F238E27FC236}">
                    <a16:creationId xmlns:a16="http://schemas.microsoft.com/office/drawing/2014/main" id="{722C7834-7CAE-4139-9DE3-3327CDFFB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26">
                <a:extLst>
                  <a:ext uri="{FF2B5EF4-FFF2-40B4-BE49-F238E27FC236}">
                    <a16:creationId xmlns:a16="http://schemas.microsoft.com/office/drawing/2014/main" id="{C010F027-452C-405F-88EF-8D5E30264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28">
                <a:extLst>
                  <a:ext uri="{FF2B5EF4-FFF2-40B4-BE49-F238E27FC236}">
                    <a16:creationId xmlns:a16="http://schemas.microsoft.com/office/drawing/2014/main" id="{CBBBA1AB-D34E-48E5-8B6F-BB1FEE8A3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0570572-16C8-4BF5-BC92-1FB631CEC52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236" name="Line 230">
                <a:extLst>
                  <a:ext uri="{FF2B5EF4-FFF2-40B4-BE49-F238E27FC236}">
                    <a16:creationId xmlns:a16="http://schemas.microsoft.com/office/drawing/2014/main" id="{1B0DA468-D3CF-4014-A282-5A624CC6D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32">
                <a:extLst>
                  <a:ext uri="{FF2B5EF4-FFF2-40B4-BE49-F238E27FC236}">
                    <a16:creationId xmlns:a16="http://schemas.microsoft.com/office/drawing/2014/main" id="{BD7A862F-7A32-4D24-B73E-3CCE10CFD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34">
                <a:extLst>
                  <a:ext uri="{FF2B5EF4-FFF2-40B4-BE49-F238E27FC236}">
                    <a16:creationId xmlns:a16="http://schemas.microsoft.com/office/drawing/2014/main" id="{2731537D-D694-467F-A3AA-4A25178E68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36">
                <a:extLst>
                  <a:ext uri="{FF2B5EF4-FFF2-40B4-BE49-F238E27FC236}">
                    <a16:creationId xmlns:a16="http://schemas.microsoft.com/office/drawing/2014/main" id="{D5331EE8-D4E3-4099-8C2E-E1D88AD6C8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38">
                <a:extLst>
                  <a:ext uri="{FF2B5EF4-FFF2-40B4-BE49-F238E27FC236}">
                    <a16:creationId xmlns:a16="http://schemas.microsoft.com/office/drawing/2014/main" id="{653AD9AA-3658-431B-91B1-A05F666863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40">
                <a:extLst>
                  <a:ext uri="{FF2B5EF4-FFF2-40B4-BE49-F238E27FC236}">
                    <a16:creationId xmlns:a16="http://schemas.microsoft.com/office/drawing/2014/main" id="{276011E3-072A-4AFD-BB46-108F5911B7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44">
                <a:extLst>
                  <a:ext uri="{FF2B5EF4-FFF2-40B4-BE49-F238E27FC236}">
                    <a16:creationId xmlns:a16="http://schemas.microsoft.com/office/drawing/2014/main" id="{9F017331-E4FB-40D5-ADAD-B9145E4D7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46">
                <a:extLst>
                  <a:ext uri="{FF2B5EF4-FFF2-40B4-BE49-F238E27FC236}">
                    <a16:creationId xmlns:a16="http://schemas.microsoft.com/office/drawing/2014/main" id="{7263493F-F14F-47A8-8603-74C9C6C3C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50">
                <a:extLst>
                  <a:ext uri="{FF2B5EF4-FFF2-40B4-BE49-F238E27FC236}">
                    <a16:creationId xmlns:a16="http://schemas.microsoft.com/office/drawing/2014/main" id="{4D9D3E6A-3980-4A4F-A9C0-C23AE7C856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52">
                <a:extLst>
                  <a:ext uri="{FF2B5EF4-FFF2-40B4-BE49-F238E27FC236}">
                    <a16:creationId xmlns:a16="http://schemas.microsoft.com/office/drawing/2014/main" id="{F71194A3-A19C-45DB-9399-A1429BDA71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54">
                <a:extLst>
                  <a:ext uri="{FF2B5EF4-FFF2-40B4-BE49-F238E27FC236}">
                    <a16:creationId xmlns:a16="http://schemas.microsoft.com/office/drawing/2014/main" id="{8129ECDB-7740-444C-B12D-FBFDB8FF5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56">
                <a:extLst>
                  <a:ext uri="{FF2B5EF4-FFF2-40B4-BE49-F238E27FC236}">
                    <a16:creationId xmlns:a16="http://schemas.microsoft.com/office/drawing/2014/main" id="{F88A3DD7-89BE-4B5C-9A3E-46037762D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258">
                <a:extLst>
                  <a:ext uri="{FF2B5EF4-FFF2-40B4-BE49-F238E27FC236}">
                    <a16:creationId xmlns:a16="http://schemas.microsoft.com/office/drawing/2014/main" id="{B0BE26A8-618A-4932-AC68-A2402DDFD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260">
                <a:extLst>
                  <a:ext uri="{FF2B5EF4-FFF2-40B4-BE49-F238E27FC236}">
                    <a16:creationId xmlns:a16="http://schemas.microsoft.com/office/drawing/2014/main" id="{91291FC0-2846-4D8E-9184-C34F0829FD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262">
                <a:extLst>
                  <a:ext uri="{FF2B5EF4-FFF2-40B4-BE49-F238E27FC236}">
                    <a16:creationId xmlns:a16="http://schemas.microsoft.com/office/drawing/2014/main" id="{958F9AA5-E174-4738-B79C-B5A756DA25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64">
                <a:extLst>
                  <a:ext uri="{FF2B5EF4-FFF2-40B4-BE49-F238E27FC236}">
                    <a16:creationId xmlns:a16="http://schemas.microsoft.com/office/drawing/2014/main" id="{73C3D38B-AC7B-446D-A679-DBA3E8E93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66">
                <a:extLst>
                  <a:ext uri="{FF2B5EF4-FFF2-40B4-BE49-F238E27FC236}">
                    <a16:creationId xmlns:a16="http://schemas.microsoft.com/office/drawing/2014/main" id="{1DF86214-CAFB-48C8-B8C2-582426701B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68">
                <a:extLst>
                  <a:ext uri="{FF2B5EF4-FFF2-40B4-BE49-F238E27FC236}">
                    <a16:creationId xmlns:a16="http://schemas.microsoft.com/office/drawing/2014/main" id="{AC05798D-3D73-436B-891E-C9FEF7C6EF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70">
                <a:extLst>
                  <a:ext uri="{FF2B5EF4-FFF2-40B4-BE49-F238E27FC236}">
                    <a16:creationId xmlns:a16="http://schemas.microsoft.com/office/drawing/2014/main" id="{2E4D7C82-52EE-4305-A5B1-A22C86B09B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72">
                <a:extLst>
                  <a:ext uri="{FF2B5EF4-FFF2-40B4-BE49-F238E27FC236}">
                    <a16:creationId xmlns:a16="http://schemas.microsoft.com/office/drawing/2014/main" id="{D5D0B4E3-7688-467E-97C5-7B0E6353DA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74">
                <a:extLst>
                  <a:ext uri="{FF2B5EF4-FFF2-40B4-BE49-F238E27FC236}">
                    <a16:creationId xmlns:a16="http://schemas.microsoft.com/office/drawing/2014/main" id="{2765B0C7-7B7A-45D1-98D1-3FB42C87AD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76">
                <a:extLst>
                  <a:ext uri="{FF2B5EF4-FFF2-40B4-BE49-F238E27FC236}">
                    <a16:creationId xmlns:a16="http://schemas.microsoft.com/office/drawing/2014/main" id="{8D31C979-B842-4F5C-9E2F-6AA11BA8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78">
                <a:extLst>
                  <a:ext uri="{FF2B5EF4-FFF2-40B4-BE49-F238E27FC236}">
                    <a16:creationId xmlns:a16="http://schemas.microsoft.com/office/drawing/2014/main" id="{423105E6-7C22-41CE-A605-37B30F4A5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1D5F6B7-261C-46D7-985C-4DD71CFAED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37" name="Line 231">
                <a:extLst>
                  <a:ext uri="{FF2B5EF4-FFF2-40B4-BE49-F238E27FC236}">
                    <a16:creationId xmlns:a16="http://schemas.microsoft.com/office/drawing/2014/main" id="{B19F456B-8FEE-4E52-9C25-98BAED94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33">
                <a:extLst>
                  <a:ext uri="{FF2B5EF4-FFF2-40B4-BE49-F238E27FC236}">
                    <a16:creationId xmlns:a16="http://schemas.microsoft.com/office/drawing/2014/main" id="{0F2DECB0-6DBE-43CA-80AA-699CC743E3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35">
                <a:extLst>
                  <a:ext uri="{FF2B5EF4-FFF2-40B4-BE49-F238E27FC236}">
                    <a16:creationId xmlns:a16="http://schemas.microsoft.com/office/drawing/2014/main" id="{090EDE23-9328-4B83-A8EC-A2AC613F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37">
                <a:extLst>
                  <a:ext uri="{FF2B5EF4-FFF2-40B4-BE49-F238E27FC236}">
                    <a16:creationId xmlns:a16="http://schemas.microsoft.com/office/drawing/2014/main" id="{858D6ABE-B481-4E4E-8E6D-AD355BA1F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39">
                <a:extLst>
                  <a:ext uri="{FF2B5EF4-FFF2-40B4-BE49-F238E27FC236}">
                    <a16:creationId xmlns:a16="http://schemas.microsoft.com/office/drawing/2014/main" id="{0EDA4E1B-F33E-479A-8494-847855BD0A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41">
                <a:extLst>
                  <a:ext uri="{FF2B5EF4-FFF2-40B4-BE49-F238E27FC236}">
                    <a16:creationId xmlns:a16="http://schemas.microsoft.com/office/drawing/2014/main" id="{435D43ED-9183-408B-BB41-26E5A3638D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45">
                <a:extLst>
                  <a:ext uri="{FF2B5EF4-FFF2-40B4-BE49-F238E27FC236}">
                    <a16:creationId xmlns:a16="http://schemas.microsoft.com/office/drawing/2014/main" id="{74C3B086-F50B-412A-A9B1-28349BC283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47">
                <a:extLst>
                  <a:ext uri="{FF2B5EF4-FFF2-40B4-BE49-F238E27FC236}">
                    <a16:creationId xmlns:a16="http://schemas.microsoft.com/office/drawing/2014/main" id="{68BECC51-FAF0-401C-9BBE-10EE3FD22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51">
                <a:extLst>
                  <a:ext uri="{FF2B5EF4-FFF2-40B4-BE49-F238E27FC236}">
                    <a16:creationId xmlns:a16="http://schemas.microsoft.com/office/drawing/2014/main" id="{693F50D6-B1C3-4A8D-B2FD-107814A09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53">
                <a:extLst>
                  <a:ext uri="{FF2B5EF4-FFF2-40B4-BE49-F238E27FC236}">
                    <a16:creationId xmlns:a16="http://schemas.microsoft.com/office/drawing/2014/main" id="{9523989F-3F36-4F0B-BFE8-4D30BDE699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55">
                <a:extLst>
                  <a:ext uri="{FF2B5EF4-FFF2-40B4-BE49-F238E27FC236}">
                    <a16:creationId xmlns:a16="http://schemas.microsoft.com/office/drawing/2014/main" id="{A2B0A0DA-67CD-4E3F-9916-DB80BAC192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257">
                <a:extLst>
                  <a:ext uri="{FF2B5EF4-FFF2-40B4-BE49-F238E27FC236}">
                    <a16:creationId xmlns:a16="http://schemas.microsoft.com/office/drawing/2014/main" id="{0933F5A8-44D6-4F29-AC3D-6DAFABA4F5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259">
                <a:extLst>
                  <a:ext uri="{FF2B5EF4-FFF2-40B4-BE49-F238E27FC236}">
                    <a16:creationId xmlns:a16="http://schemas.microsoft.com/office/drawing/2014/main" id="{AB0F9E4F-0F9B-477E-9256-AEB1AA9E1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261">
                <a:extLst>
                  <a:ext uri="{FF2B5EF4-FFF2-40B4-BE49-F238E27FC236}">
                    <a16:creationId xmlns:a16="http://schemas.microsoft.com/office/drawing/2014/main" id="{60FBEA66-D0CB-4265-8022-0CD881A7A2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63">
                <a:extLst>
                  <a:ext uri="{FF2B5EF4-FFF2-40B4-BE49-F238E27FC236}">
                    <a16:creationId xmlns:a16="http://schemas.microsoft.com/office/drawing/2014/main" id="{E5789D40-A18C-450C-99C6-D846E404D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65">
                <a:extLst>
                  <a:ext uri="{FF2B5EF4-FFF2-40B4-BE49-F238E27FC236}">
                    <a16:creationId xmlns:a16="http://schemas.microsoft.com/office/drawing/2014/main" id="{1510DEEC-B694-4B50-841D-4FB402A93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67">
                <a:extLst>
                  <a:ext uri="{FF2B5EF4-FFF2-40B4-BE49-F238E27FC236}">
                    <a16:creationId xmlns:a16="http://schemas.microsoft.com/office/drawing/2014/main" id="{BBC94643-5DE7-4BD5-A313-126F86DE2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69">
                <a:extLst>
                  <a:ext uri="{FF2B5EF4-FFF2-40B4-BE49-F238E27FC236}">
                    <a16:creationId xmlns:a16="http://schemas.microsoft.com/office/drawing/2014/main" id="{5F3B650F-82BA-477E-B640-0D6082002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71">
                <a:extLst>
                  <a:ext uri="{FF2B5EF4-FFF2-40B4-BE49-F238E27FC236}">
                    <a16:creationId xmlns:a16="http://schemas.microsoft.com/office/drawing/2014/main" id="{4F0A1CB0-BF2C-4730-A907-E9F62209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73">
                <a:extLst>
                  <a:ext uri="{FF2B5EF4-FFF2-40B4-BE49-F238E27FC236}">
                    <a16:creationId xmlns:a16="http://schemas.microsoft.com/office/drawing/2014/main" id="{C977C3AF-0C0E-41D8-8DD4-312745CE2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75">
                <a:extLst>
                  <a:ext uri="{FF2B5EF4-FFF2-40B4-BE49-F238E27FC236}">
                    <a16:creationId xmlns:a16="http://schemas.microsoft.com/office/drawing/2014/main" id="{77B82095-70DA-4E18-9184-EBCC7615F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77">
                <a:extLst>
                  <a:ext uri="{FF2B5EF4-FFF2-40B4-BE49-F238E27FC236}">
                    <a16:creationId xmlns:a16="http://schemas.microsoft.com/office/drawing/2014/main" id="{B18659EF-06F6-47E1-8241-E29D39A566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79">
                <a:extLst>
                  <a:ext uri="{FF2B5EF4-FFF2-40B4-BE49-F238E27FC236}">
                    <a16:creationId xmlns:a16="http://schemas.microsoft.com/office/drawing/2014/main" id="{36D2C3C8-38E4-4BD6-B419-102E62F18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286" name="Line 256">
              <a:extLst>
                <a:ext uri="{FF2B5EF4-FFF2-40B4-BE49-F238E27FC236}">
                  <a16:creationId xmlns:a16="http://schemas.microsoft.com/office/drawing/2014/main" id="{2EDEF9F1-BF36-4AA5-B7CE-3B6B9D334AC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7" name="Line 147">
              <a:extLst>
                <a:ext uri="{FF2B5EF4-FFF2-40B4-BE49-F238E27FC236}">
                  <a16:creationId xmlns:a16="http://schemas.microsoft.com/office/drawing/2014/main" id="{A428D105-E922-48A6-A1E1-B74299696E5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9" name="Line 146">
              <a:extLst>
                <a:ext uri="{FF2B5EF4-FFF2-40B4-BE49-F238E27FC236}">
                  <a16:creationId xmlns:a16="http://schemas.microsoft.com/office/drawing/2014/main" id="{B3E03438-6098-4085-BE12-A9A64FAA983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234">
              <a:extLst>
                <a:ext uri="{FF2B5EF4-FFF2-40B4-BE49-F238E27FC236}">
                  <a16:creationId xmlns:a16="http://schemas.microsoft.com/office/drawing/2014/main" id="{FF073B84-1256-4847-BE0E-D4E56B2B055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204">
              <a:extLst>
                <a:ext uri="{FF2B5EF4-FFF2-40B4-BE49-F238E27FC236}">
                  <a16:creationId xmlns:a16="http://schemas.microsoft.com/office/drawing/2014/main" id="{0BEDE9AE-28C6-4E06-A594-D9520651D0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5">
              <a:extLst>
                <a:ext uri="{FF2B5EF4-FFF2-40B4-BE49-F238E27FC236}">
                  <a16:creationId xmlns:a16="http://schemas.microsoft.com/office/drawing/2014/main" id="{3C9CD1F7-EB6E-4519-BF52-9CF5D94B481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5">
              <a:extLst>
                <a:ext uri="{FF2B5EF4-FFF2-40B4-BE49-F238E27FC236}">
                  <a16:creationId xmlns:a16="http://schemas.microsoft.com/office/drawing/2014/main" id="{757BF891-0A9F-4D56-BF26-234E96B926E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57">
              <a:extLst>
                <a:ext uri="{FF2B5EF4-FFF2-40B4-BE49-F238E27FC236}">
                  <a16:creationId xmlns:a16="http://schemas.microsoft.com/office/drawing/2014/main" id="{07C420B4-55BF-4A12-A5E3-55B8DE8B0D7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7251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4" r:id="rId2"/>
    <p:sldLayoutId id="2147483665" r:id="rId3"/>
    <p:sldLayoutId id="2147483681" r:id="rId4"/>
    <p:sldLayoutId id="2147483700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701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672" r:id="rId17"/>
    <p:sldLayoutId id="2147483673" r:id="rId18"/>
    <p:sldLayoutId id="2147483662" r:id="rId19"/>
    <p:sldLayoutId id="2147483679" r:id="rId20"/>
    <p:sldLayoutId id="2147483670" r:id="rId21"/>
    <p:sldLayoutId id="2147483678" r:id="rId22"/>
    <p:sldLayoutId id="2147483680" r:id="rId23"/>
    <p:sldLayoutId id="2147483677" r:id="rId24"/>
    <p:sldLayoutId id="2147483675" r:id="rId25"/>
    <p:sldLayoutId id="2147483676" r:id="rId26"/>
    <p:sldLayoutId id="2147483671" r:id="rId27"/>
    <p:sldLayoutId id="2147483687" r:id="rId28"/>
    <p:sldLayoutId id="2147483664" r:id="rId29"/>
    <p:sldLayoutId id="2147483667" r:id="rId30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tabLst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8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76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64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52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4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440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1728000" indent="-288000" algn="l" defTabSz="6858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mp3"/><Relationship Id="rId13" Type="http://schemas.openxmlformats.org/officeDocument/2006/relationships/image" Target="../media/image8.png"/><Relationship Id="rId3" Type="http://schemas.microsoft.com/office/2007/relationships/media" Target="../media/media2.m4a"/><Relationship Id="rId7" Type="http://schemas.microsoft.com/office/2007/relationships/media" Target="../media/media4.mp3"/><Relationship Id="rId12" Type="http://schemas.microsoft.com/office/2007/relationships/hdphoto" Target="../media/hdphoto1.wdp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audio" Target="../media/media3.m4a"/><Relationship Id="rId11" Type="http://schemas.openxmlformats.org/officeDocument/2006/relationships/image" Target="../media/image7.png"/><Relationship Id="rId5" Type="http://schemas.microsoft.com/office/2007/relationships/media" Target="../media/media3.m4a"/><Relationship Id="rId15" Type="http://schemas.openxmlformats.org/officeDocument/2006/relationships/image" Target="../media/image9.png"/><Relationship Id="rId10" Type="http://schemas.openxmlformats.org/officeDocument/2006/relationships/image" Target="../media/image6.emf"/><Relationship Id="rId4" Type="http://schemas.openxmlformats.org/officeDocument/2006/relationships/audio" Target="../media/media2.m4a"/><Relationship Id="rId9" Type="http://schemas.openxmlformats.org/officeDocument/2006/relationships/slideLayout" Target="../slideLayouts/slideLayout19.xml"/><Relationship Id="rId1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E357C3-591A-45DC-BADE-A4241DF87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315665"/>
            <a:ext cx="7027544" cy="1419617"/>
          </a:xfrm>
        </p:spPr>
        <p:txBody>
          <a:bodyPr/>
          <a:lstStyle/>
          <a:p>
            <a:r>
              <a:rPr lang="nl-NL" sz="4400"/>
              <a:t>Crisisman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C9FFF-734F-4E88-BDBF-A2ECEC060D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77145" y="2831174"/>
            <a:ext cx="5008460" cy="2058306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nl-NL" sz="2000" dirty="0" err="1"/>
              <a:t>Roselie</a:t>
            </a:r>
            <a:r>
              <a:rPr lang="nl-NL" sz="2000" dirty="0"/>
              <a:t> van Asperen,</a:t>
            </a:r>
            <a:endParaRPr lang="en-US" sz="2000" b="0" dirty="0"/>
          </a:p>
          <a:p>
            <a:r>
              <a:rPr lang="nl-NL" sz="2000" b="0" dirty="0"/>
              <a:t>Verpleegkundige</a:t>
            </a:r>
            <a:r>
              <a:rPr lang="nl-NL" sz="2000" b="0" dirty="0">
                <a:ea typeface="+mn-lt"/>
                <a:cs typeface="+mn-lt"/>
              </a:rPr>
              <a:t> bij </a:t>
            </a:r>
            <a:r>
              <a:rPr lang="nl-NL" sz="2000" b="0" dirty="0" err="1">
                <a:ea typeface="+mn-lt"/>
                <a:cs typeface="+mn-lt"/>
              </a:rPr>
              <a:t>Antes</a:t>
            </a:r>
            <a:r>
              <a:rPr lang="nl-NL" sz="2000" b="0" dirty="0">
                <a:ea typeface="+mn-lt"/>
                <a:cs typeface="+mn-lt"/>
              </a:rPr>
              <a:t> </a:t>
            </a:r>
            <a:endParaRPr lang="en-US" sz="2000" b="0">
              <a:ea typeface="+mn-lt"/>
              <a:cs typeface="+mn-lt"/>
            </a:endParaRPr>
          </a:p>
          <a:p>
            <a:r>
              <a:rPr lang="nl-NL" sz="2000" b="0" dirty="0">
                <a:ea typeface="+mn-lt"/>
                <a:cs typeface="+mn-lt"/>
              </a:rPr>
              <a:t>Intensieve Behandeling Thuis (IBT), Rotterdam Rijnmond</a:t>
            </a:r>
            <a:endParaRPr lang="en-US" sz="2000" b="0" dirty="0">
              <a:ea typeface="+mn-lt"/>
              <a:cs typeface="+mn-lt"/>
            </a:endParaRPr>
          </a:p>
          <a:p>
            <a:r>
              <a:rPr lang="nl-NL" sz="2000" b="0" dirty="0">
                <a:ea typeface="+mn-lt"/>
                <a:cs typeface="+mn-lt"/>
              </a:rPr>
              <a:t>Verplegingswetenschapper </a:t>
            </a:r>
            <a:endParaRPr lang="en-US" sz="2000" b="0">
              <a:ea typeface="+mn-lt"/>
              <a:cs typeface="+mn-lt"/>
            </a:endParaRPr>
          </a:p>
          <a:p>
            <a:pPr algn="ctr"/>
            <a:endParaRPr lang="nl-NL" sz="2400" dirty="0"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28C9FFF-734F-4E88-BDBF-A2ECEC060D1A}"/>
              </a:ext>
            </a:extLst>
          </p:cNvPr>
          <p:cNvSpPr txBox="1">
            <a:spLocks/>
          </p:cNvSpPr>
          <p:nvPr/>
        </p:nvSpPr>
        <p:spPr bwMode="gray">
          <a:xfrm>
            <a:off x="332302" y="1608456"/>
            <a:ext cx="7028617" cy="5030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3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6858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2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l-NL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7AD60BBC-3052-9381-307B-F213D83E88F0}"/>
              </a:ext>
            </a:extLst>
          </p:cNvPr>
          <p:cNvSpPr txBox="1"/>
          <p:nvPr/>
        </p:nvSpPr>
        <p:spPr>
          <a:xfrm>
            <a:off x="393927" y="1189944"/>
            <a:ext cx="2896279" cy="923330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l-NL" dirty="0"/>
              <a:t>Om de presentatie te beluisteren klik op het icoontje in de volgende dia</a:t>
            </a:r>
            <a:endParaRPr lang="nl-NL" dirty="0">
              <a:cs typeface="Arial"/>
            </a:endParaRPr>
          </a:p>
        </p:txBody>
      </p:sp>
      <p:pic>
        <p:nvPicPr>
          <p:cNvPr id="6" name="Afbeelding 6" descr="Afbeelding met persoon, kleding, buiten&#10;&#10;Automatisch gegenereerde beschrijving">
            <a:extLst>
              <a:ext uri="{FF2B5EF4-FFF2-40B4-BE49-F238E27FC236}">
                <a16:creationId xmlns:a16="http://schemas.microsoft.com/office/drawing/2014/main" id="{06FC062B-AC1A-F23E-9B6B-28F600868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7836" y="2724151"/>
            <a:ext cx="1700212" cy="226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33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77E98EFC-B7BB-4766-8227-0B9C59C8B7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84956" y="520229"/>
            <a:ext cx="5914155" cy="4573368"/>
          </a:xfrm>
          <a:prstGeom prst="rect">
            <a:avLst/>
          </a:prstGeo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2</a:t>
            </a:fld>
            <a:endParaRPr lang="nl-NL" noProof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24465" y="181460"/>
            <a:ext cx="8495070" cy="756000"/>
          </a:xfrm>
        </p:spPr>
        <p:txBody>
          <a:bodyPr/>
          <a:lstStyle/>
          <a:p>
            <a:r>
              <a:rPr lang="nl-NL"/>
              <a:t>Crisisgedrag vanuit 6 domeinen</a:t>
            </a:r>
          </a:p>
        </p:txBody>
      </p:sp>
      <p:sp>
        <p:nvSpPr>
          <p:cNvPr id="6" name="AutoShape 4" descr="blob:https://parnassiagroep.sharepoint.com/aebed49f-1c0e-4519-8eaf-d33a8e9e9b87">
            <a:extLst>
              <a:ext uri="{FF2B5EF4-FFF2-40B4-BE49-F238E27FC236}">
                <a16:creationId xmlns:a16="http://schemas.microsoft.com/office/drawing/2014/main" id="{77C0920F-14B7-4C90-B980-835EEFA98E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241935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EFB3CD35-4FB9-4F3C-BD51-0EFECA410B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470" y="983047"/>
            <a:ext cx="817293" cy="1324875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622D54EE-2020-45C3-A2E4-402CF2E2EA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7221" y="1058944"/>
            <a:ext cx="827866" cy="1248977"/>
          </a:xfrm>
          <a:prstGeom prst="rect">
            <a:avLst/>
          </a:prstGeom>
        </p:spPr>
      </p:pic>
      <p:sp>
        <p:nvSpPr>
          <p:cNvPr id="3" name="Tijdelijke aanduiding voor voettekst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nl-NL"/>
          </a:p>
          <a:p>
            <a:r>
              <a:rPr lang="nl-NL"/>
              <a:t>Verward gedrag</a:t>
            </a:r>
          </a:p>
        </p:txBody>
      </p:sp>
      <p:pic>
        <p:nvPicPr>
          <p:cNvPr id="9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E7D0B73A-CFC5-125F-D225-CA998EC75599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10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99163363-3E10-ABFB-27E6-6E4107A3AB8A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11" name="Opgenomen geluid">
            <a:hlinkClick r:id="" action="ppaction://media"/>
            <a:extLst>
              <a:ext uri="{FF2B5EF4-FFF2-40B4-BE49-F238E27FC236}">
                <a16:creationId xmlns:a16="http://schemas.microsoft.com/office/drawing/2014/main" id="{17758A3A-D394-4EBD-E593-7E1AB91E69E4}"/>
              </a:ext>
            </a:extLst>
          </p:cNvPr>
          <p:cNvPicPr>
            <a:picLocks noChangeAspect="1"/>
          </p:cNvPicPr>
          <p:nvPr>
            <a:audi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</p:spPr>
      </p:pic>
      <p:pic>
        <p:nvPicPr>
          <p:cNvPr id="7" name="Uitleg Safeward_model_Roselie_090622">
            <a:hlinkClick r:id="" action="ppaction://media"/>
            <a:extLst>
              <a:ext uri="{FF2B5EF4-FFF2-40B4-BE49-F238E27FC236}">
                <a16:creationId xmlns:a16="http://schemas.microsoft.com/office/drawing/2014/main" id="{BC50B146-1B0C-BDCF-C3F6-8D0F8A85D491}"/>
              </a:ext>
            </a:extLst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327525" y="2327275"/>
            <a:ext cx="487363" cy="487363"/>
          </a:xfrm>
          <a:prstGeom prst="rect">
            <a:avLst/>
          </a:prstGeom>
          <a:solidFill>
            <a:srgbClr val="FF0000"/>
          </a:solidFill>
        </p:spPr>
      </p:pic>
    </p:spTree>
    <p:extLst>
      <p:ext uri="{BB962C8B-B14F-4D97-AF65-F5344CB8AC3E}">
        <p14:creationId xmlns:p14="http://schemas.microsoft.com/office/powerpoint/2010/main" val="38899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70"/>
    </mc:Choice>
    <mc:Fallback xmlns="">
      <p:transition spd="slow" advTm="117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7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4770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377009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81779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17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6" dur="36793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9"/>
                </p:tgtEl>
              </p:cMediaNode>
            </p:audio>
            <p:audio>
              <p:cMediaNode vol="80000">
                <p:cTn id="18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0"/>
                </p:tgtEl>
              </p:cMediaNode>
            </p:audio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1"/>
                </p:tgtEl>
              </p:cMediaNode>
            </p:audio>
            <p:audio>
              <p:cMediaNode vol="100000">
                <p:cTn id="2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FiNsyPTqyjHcbo_aek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CaxOCR26HKvPVBjKQzQ"/>
</p:tagLst>
</file>

<file path=ppt/theme/theme1.xml><?xml version="1.0" encoding="utf-8"?>
<a:theme xmlns:a="http://schemas.openxmlformats.org/drawingml/2006/main" name="Parnassia-Groep_PP_template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Parnassia-Groep_PP_model.pptx" id="{F321C1A5-4EC5-4CBC-ACF7-AF2E4BE800FA}" vid="{317FCDB2-4486-4F3F-B504-C489B40F11C9}"/>
    </a:ext>
  </a:extLst>
</a:theme>
</file>

<file path=ppt/theme/theme2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556C5817B2AD4696BCBA3C7D935C17" ma:contentTypeVersion="18" ma:contentTypeDescription="Create a new document." ma:contentTypeScope="" ma:versionID="a8f15e211cf67d046a189fb60ef48712">
  <xsd:schema xmlns:xsd="http://www.w3.org/2001/XMLSchema" xmlns:xs="http://www.w3.org/2001/XMLSchema" xmlns:p="http://schemas.microsoft.com/office/2006/metadata/properties" xmlns:ns2="d619ce76-03da-43f3-99f6-87532a4faf3b" xmlns:ns3="11dfd76c-2974-4928-9d84-3b36bfc8169b" targetNamespace="http://schemas.microsoft.com/office/2006/metadata/properties" ma:root="true" ma:fieldsID="c2b05e775ee223e34fda211bdd07a83a" ns2:_="" ns3:_="">
    <xsd:import namespace="d619ce76-03da-43f3-99f6-87532a4faf3b"/>
    <xsd:import namespace="11dfd76c-2974-4928-9d84-3b36bfc8169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19ce76-03da-43f3-99f6-87532a4faf3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5" nillable="true" ma:displayName="Taxonomy Catch All Column" ma:hidden="true" ma:list="{03d002fe-5306-453d-bb8c-4d2dab93d2fa}" ma:internalName="TaxCatchAll" ma:showField="CatchAllData" ma:web="d619ce76-03da-43f3-99f6-87532a4faf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dfd76c-2974-4928-9d84-3b36bfc816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6453d812-1761-4f28-9036-3f48876da6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AC691E-5E3C-4E44-BE65-E24AD73F8F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EF008A-A5FE-42E6-AD5C-D3D9231E03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19ce76-03da-43f3-99f6-87532a4faf3b"/>
    <ds:schemaRef ds:uri="11dfd76c-2974-4928-9d84-3b36bfc816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rnassia-Groep_PP_template</Template>
  <TotalTime>1</TotalTime>
  <Words>37</Words>
  <Application>Microsoft Office PowerPoint</Application>
  <PresentationFormat>Diavoorstelling (16:9)</PresentationFormat>
  <Paragraphs>10</Paragraphs>
  <Slides>2</Slides>
  <Notes>0</Notes>
  <HiddenSlides>0</HiddenSlides>
  <MMClips>4</MMClips>
  <ScaleCrop>false</ScaleCrop>
  <HeadingPairs>
    <vt:vector size="8" baseType="variant">
      <vt:variant>
        <vt:lpstr>Gebruikte lettertypen</vt:lpstr>
      </vt:variant>
      <vt:variant>
        <vt:i4>2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6" baseType="lpstr">
      <vt:lpstr>Arial</vt:lpstr>
      <vt:lpstr>Nuon Matthew Light</vt:lpstr>
      <vt:lpstr>Parnassia-Groep_PP_template</vt:lpstr>
      <vt:lpstr>think-cell Slide</vt:lpstr>
      <vt:lpstr>Crisismanagement</vt:lpstr>
      <vt:lpstr>Crisisgedrag vanuit 6 domeinen</vt:lpstr>
    </vt:vector>
  </TitlesOfParts>
  <Company>Parnassia Groe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20610232</dc:creator>
  <cp:lastModifiedBy>Marjolein Versteeg</cp:lastModifiedBy>
  <cp:revision>42</cp:revision>
  <dcterms:created xsi:type="dcterms:W3CDTF">2019-05-22T07:52:19Z</dcterms:created>
  <dcterms:modified xsi:type="dcterms:W3CDTF">2024-03-05T13:05:13Z</dcterms:modified>
</cp:coreProperties>
</file>